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699" r:id="rId2"/>
    <p:sldMasterId id="2147483735" r:id="rId3"/>
    <p:sldMasterId id="2147483742" r:id="rId4"/>
    <p:sldMasterId id="2147483760" r:id="rId5"/>
    <p:sldMasterId id="2147483784" r:id="rId6"/>
  </p:sldMasterIdLst>
  <p:notesMasterIdLst>
    <p:notesMasterId r:id="rId17"/>
  </p:notesMasterIdLst>
  <p:sldIdLst>
    <p:sldId id="2147482878" r:id="rId7"/>
    <p:sldId id="292" r:id="rId8"/>
    <p:sldId id="297" r:id="rId9"/>
    <p:sldId id="2147483613" r:id="rId10"/>
    <p:sldId id="2147483063" r:id="rId11"/>
    <p:sldId id="2147480999" r:id="rId12"/>
    <p:sldId id="260" r:id="rId13"/>
    <p:sldId id="2147483634" r:id="rId14"/>
    <p:sldId id="2147483633" r:id="rId15"/>
    <p:sldId id="2147483103"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28153C-799E-67A2-F46B-5504B9784D25}" name="Michele Francis Padayachee" initials="MF" userId="S::Michele.Padayachee@gs1za.org::ccda8ca7-75d6-4038-a2aa-6e63716b8ac1" providerId="AD"/>
  <p188:author id="{E20A0064-2B60-1213-6A7A-556F68CF6934}" name="Sara Cavallucci" initials="SC" userId="S::sara.cavallucci@gs1.org::d6c9d6ad-0216-4ef8-8469-1e65293cf569" providerId="AD"/>
  <p188:author id="{F9EB2F83-0AC4-3D00-EDA2-1177EAC7E607}" name="Renaud de Barbuat" initials="Rd" userId="S::renaud.de.barbuat@gs1.org::d7582fdd-de4c-49a7-8023-54c75294a1af" providerId="AD"/>
  <p188:author id="{A13D0784-1F99-7887-22C3-75E35FFDBDF2}" name="Robert Beideman" initials="RB" userId="S::robert.beideman@gs1.org::d8bfe3c4-dff5-4ed8-89a1-01288e6d51d3" providerId="AD"/>
  <p188:author id="{8C7C2BDE-F5BA-2EC1-4F7A-65E3D0DC6F3C}" name="Bart Adam" initials="BA" userId="S::bart.adam@gs1.org::6decd7c9-8445-4e46-a1a0-a12034ccecfd" providerId="AD"/>
  <p188:author id="{B7E9EBDF-2020-85AF-E37F-4CBA5B647DBA}" name="Luiza Lourenco" initials="LL" userId="S::luiza.lourenco@gs1.org::ea628b57-9eaa-49ae-967b-4d5163dcaf7f" providerId="AD"/>
  <p188:author id="{FD55D9F7-41AC-94FA-D6B5-DE210EFF4FD9}" name="Ana Tomasek" initials="AT" userId="S::ana.tomasek@gs1.org::a3a294ee-1f43-4a9d-af23-155a7fcfbdf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7"/>
    <p:restoredTop sz="70909" autoAdjust="0"/>
  </p:normalViewPr>
  <p:slideViewPr>
    <p:cSldViewPr snapToGrid="0">
      <p:cViewPr varScale="1">
        <p:scale>
          <a:sx n="53" d="100"/>
          <a:sy n="53" d="100"/>
        </p:scale>
        <p:origin x="1310" y="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4361A-FA32-4915-ACF0-08C60AA68D6C}" type="datetimeFigureOut">
              <a:rPr lang="en-GB" smtClean="0"/>
              <a:t>07/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CC3583-6044-485A-8DCB-12A4DED7BA56}" type="slidenum">
              <a:rPr lang="en-GB" smtClean="0"/>
              <a:t>‹#›</a:t>
            </a:fld>
            <a:endParaRPr lang="en-GB"/>
          </a:p>
        </p:txBody>
      </p:sp>
    </p:spTree>
    <p:extLst>
      <p:ext uri="{BB962C8B-B14F-4D97-AF65-F5344CB8AC3E}">
        <p14:creationId xmlns:p14="http://schemas.microsoft.com/office/powerpoint/2010/main" val="41534257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afternoon, everyone! I don’t know about you, but I’m very happy to be surrounded by people who actually get excited about </a:t>
            </a:r>
            <a:r>
              <a:rPr lang="en-US" i="1" dirty="0"/>
              <a:t>data</a:t>
            </a:r>
            <a:r>
              <a:rPr lang="en-US" dirty="0"/>
              <a:t>. You know you’re in the right room when words like ‘interoperability’ and ‘trusted identification’ make people smile! Today we’re unpacking how to move from big data — which sometimes feels a bit overwhelming — to fast, trusted, actionable data that drives collaboration and innovation</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39CA4-B33A-44A3-BC40-031C926E1A49}"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57806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30324-4E2A-81EC-FCAA-E3FC8050E0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1A4ACF-F677-FE18-D17B-323631918B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451FCA-354E-180A-2A9E-B28A16447B61}"/>
              </a:ext>
            </a:extLst>
          </p:cNvPr>
          <p:cNvSpPr>
            <a:spLocks noGrp="1"/>
          </p:cNvSpPr>
          <p:nvPr>
            <p:ph type="body" idx="1"/>
          </p:nvPr>
        </p:nvSpPr>
        <p:spPr/>
        <p:txBody>
          <a:bodyPr/>
          <a:lstStyle/>
          <a:p>
            <a:r>
              <a:rPr lang="en-US" dirty="0"/>
              <a:t>“At GS1, our Vision 2030 is about </a:t>
            </a:r>
            <a:r>
              <a:rPr lang="en-US" i="1" dirty="0"/>
              <a:t>powering trust in data for everyone, everywhere</a:t>
            </a:r>
            <a:r>
              <a:rPr lang="en-US" dirty="0"/>
              <a:t>. This isn’t just a slogan — it’s a roadmap for how we enable </a:t>
            </a:r>
            <a:r>
              <a:rPr lang="en-US" dirty="0" err="1"/>
              <a:t>organisations</a:t>
            </a:r>
            <a:r>
              <a:rPr lang="en-US" dirty="0"/>
              <a:t> to move from siloed, fragmented systems toward fast, interoperable, and trusted data ecosystems.”</a:t>
            </a:r>
          </a:p>
          <a:p>
            <a:r>
              <a:rPr lang="en-US" dirty="0"/>
              <a:t>That one line directly ties GS1 Vision 2030 to the theme of </a:t>
            </a:r>
            <a:r>
              <a:rPr lang="en-US" i="1" dirty="0"/>
              <a:t>breaking data silos</a:t>
            </a:r>
            <a:r>
              <a:rPr lang="en-US" dirty="0"/>
              <a:t>.</a:t>
            </a:r>
          </a:p>
          <a:p>
            <a:br>
              <a:rPr lang="en-US" dirty="0"/>
            </a:br>
            <a:endParaRPr lang="en-US" dirty="0"/>
          </a:p>
          <a:p>
            <a:r>
              <a:rPr lang="en-US" b="1" dirty="0"/>
              <a:t>🔹 2. Aligning the Three GS1 Pillars to the Panel Theme</a:t>
            </a:r>
          </a:p>
          <a:p>
            <a:r>
              <a:rPr lang="en-US" b="1" dirty="0"/>
              <a:t>1. Trusted Data → From Big Data to Fast, Reliable Data</a:t>
            </a:r>
          </a:p>
          <a:p>
            <a:r>
              <a:rPr lang="en-US" dirty="0"/>
              <a:t>“As </a:t>
            </a:r>
            <a:r>
              <a:rPr lang="en-US" dirty="0" err="1"/>
              <a:t>organisations</a:t>
            </a:r>
            <a:r>
              <a:rPr lang="en-US" dirty="0"/>
              <a:t> race toward fast data, trust becomes the differentiator. GS1’s standards create the backbone for trusted identification — ensuring that data consumed by AI, analytics, and automation is accurate, verified, and interoperable.”</a:t>
            </a:r>
          </a:p>
          <a:p>
            <a:r>
              <a:rPr lang="en-US" dirty="0"/>
              <a:t>👉 </a:t>
            </a:r>
            <a:r>
              <a:rPr lang="en-US" i="1" dirty="0"/>
              <a:t>Relevance:</a:t>
            </a:r>
            <a:r>
              <a:rPr lang="en-US" dirty="0"/>
              <a:t> Big data is useless if it’s not trusted. GS1 turns “big” into “fast and reliable.”</a:t>
            </a:r>
          </a:p>
          <a:p>
            <a:br>
              <a:rPr lang="en-US" dirty="0"/>
            </a:br>
            <a:endParaRPr lang="en-US" dirty="0"/>
          </a:p>
          <a:p>
            <a:r>
              <a:rPr lang="en-US" b="1" dirty="0"/>
              <a:t>2. Collaboration → Breaking Data Silos</a:t>
            </a:r>
          </a:p>
          <a:p>
            <a:r>
              <a:rPr lang="en-US" dirty="0"/>
              <a:t>“GS1 exists to bring industries together around a shared language of business. Collaboration is at the heart of breaking data silos — not just sharing data, but sharing understanding, so that every partner in the ecosystem can move faster and make decisions with confidence.”</a:t>
            </a:r>
          </a:p>
          <a:p>
            <a:r>
              <a:rPr lang="en-US" dirty="0"/>
              <a:t>👉 </a:t>
            </a:r>
            <a:r>
              <a:rPr lang="en-US" i="1" dirty="0"/>
              <a:t>Relevance:</a:t>
            </a:r>
            <a:r>
              <a:rPr lang="en-US" dirty="0"/>
              <a:t> Collaboration isn’t only technical — it’s human and structural. This resonates with the leadership focus of the panel.</a:t>
            </a:r>
          </a:p>
          <a:p>
            <a:br>
              <a:rPr lang="en-US" dirty="0"/>
            </a:br>
            <a:endParaRPr lang="en-US" dirty="0"/>
          </a:p>
          <a:p>
            <a:r>
              <a:rPr lang="en-US" b="1" dirty="0"/>
              <a:t>3. Interoperability → Driving Agility and Innovation</a:t>
            </a:r>
          </a:p>
          <a:p>
            <a:r>
              <a:rPr lang="en-US" dirty="0"/>
              <a:t>“True interoperability allows data to flow seamlessly across industries, systems, and geographies. That’s how we move from isolated insights to real-time action — enabling </a:t>
            </a:r>
            <a:r>
              <a:rPr lang="en-US" dirty="0" err="1"/>
              <a:t>organisations</a:t>
            </a:r>
            <a:r>
              <a:rPr lang="en-US" dirty="0"/>
              <a:t> to be more agile, resilient, and future-ready.”</a:t>
            </a:r>
          </a:p>
          <a:p>
            <a:r>
              <a:rPr lang="en-US" dirty="0"/>
              <a:t>👉 </a:t>
            </a:r>
            <a:r>
              <a:rPr lang="en-US" i="1" dirty="0"/>
              <a:t>Relevance:</a:t>
            </a:r>
            <a:r>
              <a:rPr lang="en-US" dirty="0"/>
              <a:t> “Fast data” is achieved through interoperability — GS1’s core strength.</a:t>
            </a:r>
          </a:p>
          <a:p>
            <a:br>
              <a:rPr lang="en-US" dirty="0"/>
            </a:br>
            <a:endParaRPr lang="en-US" dirty="0"/>
          </a:p>
          <a:p>
            <a:r>
              <a:rPr lang="en-US" b="1" dirty="0"/>
              <a:t>🔹 3. Vision 2030 as the Future-Focused Bridge</a:t>
            </a:r>
          </a:p>
          <a:p>
            <a:r>
              <a:rPr lang="en-US" dirty="0"/>
              <a:t>Close your link by bringing it back to Vision 2030’s forward-looking tone:</a:t>
            </a:r>
          </a:p>
          <a:p>
            <a:r>
              <a:rPr lang="en-US" dirty="0"/>
              <a:t>“Vision 2030 is really about preparing for what’s next — an AI-driven world where trust, collaboration, and interoperability define success. GS1’s role is to ensure that as data accelerates, it also remains grounded in truth.”</a:t>
            </a:r>
          </a:p>
          <a:p>
            <a:br>
              <a:rPr lang="en-US" dirty="0"/>
            </a:br>
            <a:endParaRPr lang="en-US" dirty="0"/>
          </a:p>
          <a:p>
            <a:r>
              <a:rPr lang="en-US" b="1" dirty="0"/>
              <a:t>🔹 4. Optional Summary Phrase (for Panel Integration)</a:t>
            </a:r>
          </a:p>
          <a:p>
            <a:r>
              <a:rPr lang="en-US" dirty="0"/>
              <a:t>If Dylan asks you to build on another </a:t>
            </a:r>
            <a:r>
              <a:rPr lang="en-US" dirty="0" err="1"/>
              <a:t>panellist’s</a:t>
            </a:r>
            <a:r>
              <a:rPr lang="en-US" dirty="0"/>
              <a:t> point, you could use:</a:t>
            </a:r>
          </a:p>
          <a:p>
            <a:r>
              <a:rPr lang="en-US" dirty="0"/>
              <a:t>“What we’re hearing across the table — whether it’s about AI or analytics — all points back to the same challenge: trust. GS1’s vision is to make trusted, fast data the foundation for every collaboration.”</a:t>
            </a:r>
          </a:p>
          <a:p>
            <a:endParaRPr lang="en-GB" dirty="0"/>
          </a:p>
        </p:txBody>
      </p:sp>
      <p:sp>
        <p:nvSpPr>
          <p:cNvPr id="4" name="Slide Number Placeholder 3">
            <a:extLst>
              <a:ext uri="{FF2B5EF4-FFF2-40B4-BE49-F238E27FC236}">
                <a16:creationId xmlns:a16="http://schemas.microsoft.com/office/drawing/2014/main" id="{43BA0E4D-01C8-513E-8549-AE322E12E830}"/>
              </a:ext>
            </a:extLst>
          </p:cNvPr>
          <p:cNvSpPr>
            <a:spLocks noGrp="1"/>
          </p:cNvSpPr>
          <p:nvPr>
            <p:ph type="sldNum" sz="quarter" idx="5"/>
          </p:nvPr>
        </p:nvSpPr>
        <p:spPr/>
        <p:txBody>
          <a:bodyPr/>
          <a:lstStyle/>
          <a:p>
            <a:pPr marL="0" marR="0" lvl="0" indent="0" algn="r" defTabSz="921854" rtl="0" eaLnBrk="1" fontAlgn="auto" latinLnBrk="0" hangingPunct="1">
              <a:lnSpc>
                <a:spcPct val="100000"/>
              </a:lnSpc>
              <a:spcBef>
                <a:spcPts val="0"/>
              </a:spcBef>
              <a:spcAft>
                <a:spcPts val="0"/>
              </a:spcAft>
              <a:buClrTx/>
              <a:buSzTx/>
              <a:buFontTx/>
              <a:buNone/>
              <a:tabLst/>
              <a:defRPr/>
            </a:pPr>
            <a:fld id="{0B2B8EAE-8016-F64B-92C7-66E7338ADE9F}"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1854"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5609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F52CB-3F13-488D-9076-ADE10E949F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DB0DB8-C9E4-E352-DDCA-FADAD7717E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A856AA-6025-69FB-203D-E61A7D428F05}"/>
              </a:ext>
            </a:extLst>
          </p:cNvPr>
          <p:cNvSpPr>
            <a:spLocks noGrp="1"/>
          </p:cNvSpPr>
          <p:nvPr>
            <p:ph type="body" idx="1"/>
          </p:nvPr>
        </p:nvSpPr>
        <p:spPr/>
        <p:txBody>
          <a:bodyPr/>
          <a:lstStyle/>
          <a:p>
            <a:r>
              <a:rPr lang="en-US" i="1" dirty="0"/>
              <a:t>From a South African perspective, mining is both a cornerstone and an aspiration. Yet across the region — from beneficiation debates in South Africa to unfair trade claims in the DRC — the industry faces barriers that undermine trust and prevent fair trade. By embedding GS1 standards, we can bring greater transparency, enable responsible sourcing, and unlock new value for mining and the wider economy."</a:t>
            </a:r>
            <a:endParaRPr lang="en-US" dirty="0"/>
          </a:p>
          <a:p>
            <a:br>
              <a:rPr lang="en-US" dirty="0"/>
            </a:br>
            <a:endParaRPr lang="en-US" dirty="0"/>
          </a:p>
          <a:p>
            <a:r>
              <a:rPr lang="en-US" dirty="0"/>
              <a:t>This ties:</a:t>
            </a:r>
          </a:p>
          <a:p>
            <a:r>
              <a:rPr lang="en-US" b="1" dirty="0"/>
              <a:t>Local context (South Africa, DRC)</a:t>
            </a:r>
            <a:endParaRPr lang="en-US" dirty="0"/>
          </a:p>
          <a:p>
            <a:r>
              <a:rPr lang="en-US" b="1" dirty="0"/>
              <a:t>Industry challenge (beneficiation, unfair trade claims)</a:t>
            </a:r>
            <a:endParaRPr lang="en-US" dirty="0"/>
          </a:p>
          <a:p>
            <a:r>
              <a:rPr lang="en-US" b="1" dirty="0"/>
              <a:t>GS1’s value (trust, transparency, fair trade, unlocking value)</a:t>
            </a:r>
            <a:endParaRPr lang="en-US" dirty="0"/>
          </a:p>
          <a:p>
            <a:endParaRPr lang="en-GB" dirty="0"/>
          </a:p>
        </p:txBody>
      </p:sp>
      <p:sp>
        <p:nvSpPr>
          <p:cNvPr id="4" name="Slide Number Placeholder 3">
            <a:extLst>
              <a:ext uri="{FF2B5EF4-FFF2-40B4-BE49-F238E27FC236}">
                <a16:creationId xmlns:a16="http://schemas.microsoft.com/office/drawing/2014/main" id="{E3E85A0D-8D8D-61E4-2AA1-50A4EF68CC00}"/>
              </a:ext>
            </a:extLst>
          </p:cNvPr>
          <p:cNvSpPr>
            <a:spLocks noGrp="1"/>
          </p:cNvSpPr>
          <p:nvPr>
            <p:ph type="sldNum" sz="quarter" idx="5"/>
          </p:nvPr>
        </p:nvSpPr>
        <p:spPr/>
        <p:txBody>
          <a:bodyPr/>
          <a:lstStyle/>
          <a:p>
            <a:pPr marL="0" marR="0" lvl="0" indent="0" algn="r" defTabSz="933145" rtl="0" eaLnBrk="1" fontAlgn="auto" latinLnBrk="0" hangingPunct="1">
              <a:lnSpc>
                <a:spcPct val="100000"/>
              </a:lnSpc>
              <a:spcBef>
                <a:spcPts val="0"/>
              </a:spcBef>
              <a:spcAft>
                <a:spcPts val="0"/>
              </a:spcAft>
              <a:buClrTx/>
              <a:buSzTx/>
              <a:buFontTx/>
              <a:buNone/>
              <a:tabLst/>
              <a:defRPr/>
            </a:pPr>
            <a:fld id="{0B2B8EAE-8016-F64B-92C7-66E7338ADE9F}"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145"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316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AAD48C-378C-912C-93C7-C0FD1C409E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B48EF1-0EBE-AEB9-2C81-40EA957578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A2ECCA-1BBA-B06E-E65A-0CEEA053F1D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08901D0-2042-955D-3347-A2B58D4B7AAA}"/>
              </a:ext>
            </a:extLst>
          </p:cNvPr>
          <p:cNvSpPr>
            <a:spLocks noGrp="1"/>
          </p:cNvSpPr>
          <p:nvPr>
            <p:ph type="sldNum" sz="quarter" idx="5"/>
          </p:nvPr>
        </p:nvSpPr>
        <p:spPr/>
        <p:txBody>
          <a:bodyPr/>
          <a:lstStyle/>
          <a:p>
            <a:pPr marL="0" marR="0" lvl="0" indent="0" algn="r" defTabSz="933145" rtl="0" eaLnBrk="1" fontAlgn="auto" latinLnBrk="0" hangingPunct="1">
              <a:lnSpc>
                <a:spcPct val="100000"/>
              </a:lnSpc>
              <a:spcBef>
                <a:spcPts val="0"/>
              </a:spcBef>
              <a:spcAft>
                <a:spcPts val="0"/>
              </a:spcAft>
              <a:buClrTx/>
              <a:buSzTx/>
              <a:buFontTx/>
              <a:buNone/>
              <a:tabLst/>
              <a:defRPr/>
            </a:pPr>
            <a:fld id="{0B2B8EAE-8016-F64B-92C7-66E7338ADE9F}"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145"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0418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FBDFA-2C07-F488-D8EC-7A653B41CA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6F66EA-461D-7AAD-E070-D2F4B85A2F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12A05E-794B-0305-B9DC-421ECF05C628}"/>
              </a:ext>
            </a:extLst>
          </p:cNvPr>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kern="1200" dirty="0">
                <a:solidFill>
                  <a:schemeClr val="tx1"/>
                </a:solidFill>
                <a:effectLst/>
                <a:latin typeface="+mn-lt"/>
                <a:ea typeface="+mn-ea"/>
                <a:cs typeface="+mn-cs"/>
              </a:rPr>
              <a:t>There is an African Proverb which says, If you want to go fast, go alone. If you want to go far, go with others."</a:t>
            </a:r>
            <a:endParaRPr lang="fr-FR" dirty="0"/>
          </a:p>
          <a:p>
            <a:pPr>
              <a:lnSpc>
                <a:spcPct val="107000"/>
              </a:lnSpc>
              <a:spcAft>
                <a:spcPts val="800"/>
              </a:spcAft>
            </a:pPr>
            <a:r>
              <a:rPr lang="en-US" sz="1200" b="0" i="0" kern="1200" dirty="0">
                <a:solidFill>
                  <a:schemeClr val="tx1"/>
                </a:solidFill>
                <a:effectLst/>
                <a:latin typeface="+mn-lt"/>
                <a:ea typeface="+mn-ea"/>
                <a:cs typeface="+mn-cs"/>
              </a:rPr>
              <a:t>I am once again feeling this truth right up close. Our mission—standardization—is not a sprint, it's a marathon, and we can only win it together.</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Alone, we might achieve small improvements, but the major efficiency leaps across company boundaries only succeed through teamwork. It’s about speaking a common language so that innovation and progress can flow freely. Her how the GS1 Federation Broke a significant Data Silo.</a:t>
            </a:r>
            <a:endParaRPr lang="en-US" dirty="0">
              <a:cs typeface="Calibri"/>
            </a:endParaRPr>
          </a:p>
        </p:txBody>
      </p:sp>
      <p:sp>
        <p:nvSpPr>
          <p:cNvPr id="4" name="Slide Number Placeholder 3">
            <a:extLst>
              <a:ext uri="{FF2B5EF4-FFF2-40B4-BE49-F238E27FC236}">
                <a16:creationId xmlns:a16="http://schemas.microsoft.com/office/drawing/2014/main" id="{B16C743A-AD56-E426-B247-294CBA8D73CD}"/>
              </a:ext>
            </a:extLst>
          </p:cNvPr>
          <p:cNvSpPr>
            <a:spLocks noGrp="1"/>
          </p:cNvSpPr>
          <p:nvPr>
            <p:ph type="sldNum" sz="quarter" idx="5"/>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1DC7A02B-46E6-4166-B5ED-097BDAD7D7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886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631" rtl="0" eaLnBrk="1" fontAlgn="auto" latinLnBrk="0" hangingPunct="1">
              <a:lnSpc>
                <a:spcPct val="100000"/>
              </a:lnSpc>
              <a:spcBef>
                <a:spcPts val="0"/>
              </a:spcBef>
              <a:spcAft>
                <a:spcPts val="0"/>
              </a:spcAft>
              <a:buClrTx/>
              <a:buSzTx/>
              <a:buFontTx/>
              <a:buNone/>
              <a:tabLst/>
              <a:defRPr/>
            </a:pPr>
            <a:fld id="{0B2B8EAE-8016-F64B-92C7-66E7338ADE9F}" type="slidenum">
              <a:rPr kumimoji="0" lang="en-GB"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631" rtl="0" eaLnBrk="1" fontAlgn="auto" latinLnBrk="0" hangingPunct="1">
                <a:lnSpc>
                  <a:spcPct val="100000"/>
                </a:lnSpc>
                <a:spcBef>
                  <a:spcPts val="0"/>
                </a:spcBef>
                <a:spcAft>
                  <a:spcPts val="0"/>
                </a:spcAft>
                <a:buClrTx/>
                <a:buSzTx/>
                <a:buFontTx/>
                <a:buNone/>
                <a:tabLst/>
                <a:defRPr/>
              </a:pPr>
              <a:t>6</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6262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2ECC3583-6044-485A-8DCB-12A4DED7BA56}" type="slidenum">
              <a:rPr lang="en-GB" smtClean="0"/>
              <a:t>8</a:t>
            </a:fld>
            <a:endParaRPr lang="en-GB"/>
          </a:p>
        </p:txBody>
      </p:sp>
    </p:spTree>
    <p:extLst>
      <p:ext uri="{BB962C8B-B14F-4D97-AF65-F5344CB8AC3E}">
        <p14:creationId xmlns:p14="http://schemas.microsoft.com/office/powerpoint/2010/main" val="2363469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2ECC3583-6044-485A-8DCB-12A4DED7BA56}" type="slidenum">
              <a:rPr lang="en-GB" smtClean="0"/>
              <a:t>9</a:t>
            </a:fld>
            <a:endParaRPr lang="en-GB"/>
          </a:p>
        </p:txBody>
      </p:sp>
    </p:spTree>
    <p:extLst>
      <p:ext uri="{BB962C8B-B14F-4D97-AF65-F5344CB8AC3E}">
        <p14:creationId xmlns:p14="http://schemas.microsoft.com/office/powerpoint/2010/main" val="41414172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act that a system that does not produce an accessible traceability audit trail is not a traceability system! Guess that requires some explanation for people to understand!</a:t>
            </a:r>
            <a:r>
              <a:rPr lang="en-US" sz="1200" b="0" i="0" kern="1200" dirty="0">
                <a:solidFill>
                  <a:schemeClr val="tx1"/>
                </a:solidFill>
                <a:effectLst/>
                <a:latin typeface="+mn-lt"/>
                <a:ea typeface="+mn-ea"/>
                <a:cs typeface="+mn-cs"/>
              </a:rPr>
              <a:t> Does it make sense to talk about traceability across a supply chain if there is no traceability audit trail? Certainly not. If product items are marked with globally unique identities and there is no access to a traceability audit trail, the only useful next step is to verify or authenticate the globally unique identity against a trusted database to establish origin. Establishing origin and product type, and perhaps also product attributes, in this way does not explain how it progressed to where it is currently located. Hence, the system that enables this activity cannot be called a traceability system. Instead it is a verification system. Verification and authentication of product items, logistics entities, </a:t>
            </a:r>
            <a:r>
              <a:rPr lang="en-US" sz="1200" b="0" i="0" kern="1200" dirty="0" err="1">
                <a:solidFill>
                  <a:schemeClr val="tx1"/>
                </a:solidFill>
                <a:effectLst/>
                <a:latin typeface="+mn-lt"/>
                <a:ea typeface="+mn-ea"/>
                <a:cs typeface="+mn-cs"/>
              </a:rPr>
              <a:t>organisations</a:t>
            </a:r>
            <a:r>
              <a:rPr lang="en-US" sz="1200" b="0" i="0" kern="1200" dirty="0">
                <a:solidFill>
                  <a:schemeClr val="tx1"/>
                </a:solidFill>
                <a:effectLst/>
                <a:latin typeface="+mn-lt"/>
                <a:ea typeface="+mn-ea"/>
                <a:cs typeface="+mn-cs"/>
              </a:rPr>
              <a:t>, item handling events and product attributes are important aspects of supply chain traceability. However, verification of product items is not traceability.</a:t>
            </a:r>
          </a:p>
          <a:p>
            <a:r>
              <a:rPr lang="en-US" sz="1200" b="0" i="0" kern="1200" dirty="0">
                <a:solidFill>
                  <a:schemeClr val="tx1"/>
                </a:solidFill>
                <a:effectLst/>
                <a:latin typeface="+mn-lt"/>
                <a:ea typeface="+mn-ea"/>
                <a:cs typeface="+mn-cs"/>
              </a:rPr>
              <a:t>art 4: Traceability, Visibility &amp; Transparency – Building the Visibility Stack</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erminology Series on Supply Chain Visibility</a:t>
            </a:r>
            <a:br>
              <a:rPr lang="en-US" sz="1200" b="0" i="0" kern="1200" dirty="0">
                <a:solidFill>
                  <a:schemeClr val="tx1"/>
                </a:solidFill>
                <a:effectLst/>
                <a:latin typeface="+mn-lt"/>
                <a:ea typeface="+mn-ea"/>
                <a:cs typeface="+mn-cs"/>
              </a:rPr>
            </a:b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In supply chain discussions, terms like traceability, visibility, and transparency are often used interchangeably—but they serve distinct purposes.</a:t>
            </a:r>
            <a:br>
              <a:rPr lang="en-US" sz="1200" b="0" i="0" kern="1200" dirty="0">
                <a:solidFill>
                  <a:schemeClr val="tx1"/>
                </a:solidFill>
                <a:effectLst/>
                <a:latin typeface="+mn-lt"/>
                <a:ea typeface="+mn-ea"/>
                <a:cs typeface="+mn-cs"/>
              </a:rPr>
            </a:b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Traceability is commonly defined as the ability to identify, track, and trace the history, location, and application of products, parts, or materials. It’s essential for sustainability and ethical sourcing—but in a supply chain context, it offers limited visibility.</a:t>
            </a:r>
            <a:br>
              <a:rPr lang="en-US" sz="1200" b="0" i="0" kern="1200" dirty="0">
                <a:solidFill>
                  <a:schemeClr val="tx1"/>
                </a:solidFill>
                <a:effectLst/>
                <a:latin typeface="+mn-lt"/>
                <a:ea typeface="+mn-ea"/>
                <a:cs typeface="+mn-cs"/>
              </a:rPr>
            </a:b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raceability exists as an audit trail linked to participating </a:t>
            </a:r>
            <a:r>
              <a:rPr lang="en-US" sz="1200" b="0" i="0" kern="1200" dirty="0" err="1">
                <a:solidFill>
                  <a:schemeClr val="tx1"/>
                </a:solidFill>
                <a:effectLst/>
                <a:latin typeface="+mn-lt"/>
                <a:ea typeface="+mn-ea"/>
                <a:cs typeface="+mn-cs"/>
              </a:rPr>
              <a:t>organisations</a:t>
            </a:r>
            <a:r>
              <a:rPr lang="en-US" sz="1200" b="0" i="0" kern="1200" dirty="0">
                <a:solidFill>
                  <a:schemeClr val="tx1"/>
                </a:solidFill>
                <a:effectLst/>
                <a:latin typeface="+mn-lt"/>
                <a:ea typeface="+mn-ea"/>
                <a:cs typeface="+mn-cs"/>
              </a:rPr>
              <a:t>. It doesn’t tell u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Whether product and process attributes meet agreed standard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If regulations and best practices are being followed</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How supply and demand are coordinated across the chain</a:t>
            </a:r>
            <a:br>
              <a:rPr lang="en-US" sz="1200" b="0" i="0" kern="1200" dirty="0">
                <a:solidFill>
                  <a:schemeClr val="tx1"/>
                </a:solidFill>
                <a:effectLst/>
                <a:latin typeface="+mn-lt"/>
                <a:ea typeface="+mn-ea"/>
                <a:cs typeface="+mn-cs"/>
              </a:rPr>
            </a:b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That’s where visibility comes in. Visibility adds layers of data specific to:</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Product and process attribute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Compliance with standards and regulation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Supply-demand coordination</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Regulatory compliance oversight and fiscal incentives design</a:t>
            </a:r>
            <a:br>
              <a:rPr lang="en-US" sz="1200" b="0" i="0" kern="1200" dirty="0">
                <a:solidFill>
                  <a:schemeClr val="tx1"/>
                </a:solidFill>
                <a:effectLst/>
                <a:latin typeface="+mn-lt"/>
                <a:ea typeface="+mn-ea"/>
                <a:cs typeface="+mn-cs"/>
              </a:rPr>
            </a:b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hese layers, combined with traceability, form the visibility stack—tailored to the specific needs of a supply chain </a:t>
            </a:r>
            <a:r>
              <a:rPr lang="en-US" sz="1200" b="0" i="0" kern="1200" dirty="0" err="1">
                <a:solidFill>
                  <a:schemeClr val="tx1"/>
                </a:solidFill>
                <a:effectLst/>
                <a:latin typeface="+mn-lt"/>
                <a:ea typeface="+mn-ea"/>
                <a:cs typeface="+mn-cs"/>
              </a:rPr>
              <a:t>programme</a:t>
            </a:r>
            <a:r>
              <a:rPr lang="en-US" sz="1200" b="0" i="0" kern="1200" dirty="0">
                <a:solidFill>
                  <a:schemeClr val="tx1"/>
                </a:solidFill>
                <a:effectLst/>
                <a:latin typeface="+mn-lt"/>
                <a:ea typeface="+mn-ea"/>
                <a:cs typeface="+mn-cs"/>
              </a:rPr>
              <a:t> and shared internally up to retailers. Increasingly, it makes more sense to talk of a visibility audit trail rather than just a traceability audit trail.</a:t>
            </a:r>
            <a:br>
              <a:rPr lang="en-US" sz="1200" b="0" i="0" kern="1200" dirty="0">
                <a:solidFill>
                  <a:schemeClr val="tx1"/>
                </a:solidFill>
                <a:effectLst/>
                <a:latin typeface="+mn-lt"/>
                <a:ea typeface="+mn-ea"/>
                <a:cs typeface="+mn-cs"/>
              </a:rPr>
            </a:b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Transparency, on the other hand, refers to sharing selected visibility data with external parties—typically consumers and regulators. It generally focuses on ethical practices, sustainability, and accountability.</a:t>
            </a:r>
            <a:endParaRPr lang="en-US" dirty="0"/>
          </a:p>
        </p:txBody>
      </p:sp>
      <p:sp>
        <p:nvSpPr>
          <p:cNvPr id="4" name="Slide Number Placeholder 3"/>
          <p:cNvSpPr>
            <a:spLocks noGrp="1"/>
          </p:cNvSpPr>
          <p:nvPr>
            <p:ph type="sldNum" sz="quarter" idx="5"/>
          </p:nvPr>
        </p:nvSpPr>
        <p:spPr/>
        <p:txBody>
          <a:bodyPr/>
          <a:lstStyle/>
          <a:p>
            <a:fld id="{2ECC3583-6044-485A-8DCB-12A4DED7BA56}" type="slidenum">
              <a:rPr lang="en-GB" smtClean="0"/>
              <a:t>10</a:t>
            </a:fld>
            <a:endParaRPr lang="en-GB"/>
          </a:p>
        </p:txBody>
      </p:sp>
    </p:spTree>
    <p:extLst>
      <p:ext uri="{BB962C8B-B14F-4D97-AF65-F5344CB8AC3E}">
        <p14:creationId xmlns:p14="http://schemas.microsoft.com/office/powerpoint/2010/main" val="23230404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6.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1.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E44536-7F34-75F4-522E-D41D08F32023}"/>
              </a:ext>
            </a:extLst>
          </p:cNvPr>
          <p:cNvGraphicFramePr>
            <a:graphicFrameLocks noChangeAspect="1"/>
          </p:cNvGraphicFramePr>
          <p:nvPr userDrawn="1">
            <p:custDataLst>
              <p:tags r:id="rId1"/>
            </p:custDataLst>
            <p:extLst>
              <p:ext uri="{D42A27DB-BD31-4B8C-83A1-F6EECF244321}">
                <p14:modId xmlns:p14="http://schemas.microsoft.com/office/powerpoint/2010/main" val="171135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5" progId="TCLayout.ActiveDocument.1">
                  <p:embed/>
                </p:oleObj>
              </mc:Choice>
              <mc:Fallback>
                <p:oleObj name="think-cell Slide" r:id="rId3" imgW="606" imgH="605" progId="TCLayout.ActiveDocument.1">
                  <p:embed/>
                  <p:pic>
                    <p:nvPicPr>
                      <p:cNvPr id="5" name="think-cell data - do not delete" hidden="1">
                        <a:extLst>
                          <a:ext uri="{FF2B5EF4-FFF2-40B4-BE49-F238E27FC236}">
                            <a16:creationId xmlns:a16="http://schemas.microsoft.com/office/drawing/2014/main" id="{B7E44536-7F34-75F4-522E-D41D08F32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 name="Title Placeholder 1">
            <a:extLst>
              <a:ext uri="{FF2B5EF4-FFF2-40B4-BE49-F238E27FC236}">
                <a16:creationId xmlns:a16="http://schemas.microsoft.com/office/drawing/2014/main" id="{FDF2FBDC-CCA1-5626-CC79-517AC87142C8}"/>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2400"/>
            </a:lvl1pPr>
          </a:lstStyle>
          <a:p>
            <a:pPr lvl="0"/>
            <a:r>
              <a:rPr lang="en-GB" noProof="0"/>
              <a:t>Title goes here and can be two lines</a:t>
            </a:r>
          </a:p>
        </p:txBody>
      </p:sp>
    </p:spTree>
    <p:extLst>
      <p:ext uri="{BB962C8B-B14F-4D97-AF65-F5344CB8AC3E}">
        <p14:creationId xmlns:p14="http://schemas.microsoft.com/office/powerpoint/2010/main" val="34683814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3" name="Title Placeholder 1">
            <a:extLst>
              <a:ext uri="{FF2B5EF4-FFF2-40B4-BE49-F238E27FC236}">
                <a16:creationId xmlns:a16="http://schemas.microsoft.com/office/drawing/2014/main" id="{4743C78D-3A94-222D-515C-DBD366737CDD}"/>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6" name="Picture Placeholder 4">
            <a:extLst>
              <a:ext uri="{FF2B5EF4-FFF2-40B4-BE49-F238E27FC236}">
                <a16:creationId xmlns:a16="http://schemas.microsoft.com/office/drawing/2014/main" id="{7233F58C-22FF-EF1C-9EA4-BB1FF4DB5EE2}"/>
              </a:ext>
            </a:extLst>
          </p:cNvPr>
          <p:cNvSpPr>
            <a:spLocks noGrp="1"/>
          </p:cNvSpPr>
          <p:nvPr>
            <p:ph type="pic" sz="quarter" idx="14" hasCustomPrompt="1"/>
          </p:nvPr>
        </p:nvSpPr>
        <p:spPr>
          <a:xfrm>
            <a:off x="6398256" y="1293411"/>
            <a:ext cx="5189667" cy="4675367"/>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7" name="Text Placeholder 12">
            <a:extLst>
              <a:ext uri="{FF2B5EF4-FFF2-40B4-BE49-F238E27FC236}">
                <a16:creationId xmlns:a16="http://schemas.microsoft.com/office/drawing/2014/main" id="{21B3A332-BC1C-B2B7-8D25-FFEFD0C83898}"/>
              </a:ext>
            </a:extLst>
          </p:cNvPr>
          <p:cNvSpPr>
            <a:spLocks noGrp="1"/>
          </p:cNvSpPr>
          <p:nvPr>
            <p:ph type="body" sz="quarter" idx="20" hasCustomPrompt="1"/>
          </p:nvPr>
        </p:nvSpPr>
        <p:spPr>
          <a:xfrm>
            <a:off x="598444" y="2419234"/>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5">
            <a:extLst>
              <a:ext uri="{FF2B5EF4-FFF2-40B4-BE49-F238E27FC236}">
                <a16:creationId xmlns:a16="http://schemas.microsoft.com/office/drawing/2014/main" id="{C1E37B17-5772-3B5D-73F7-2A9DE958789C}"/>
              </a:ext>
            </a:extLst>
          </p:cNvPr>
          <p:cNvSpPr>
            <a:spLocks noGrp="1"/>
          </p:cNvSpPr>
          <p:nvPr>
            <p:ph type="body" sz="quarter" idx="19" hasCustomPrompt="1"/>
          </p:nvPr>
        </p:nvSpPr>
        <p:spPr>
          <a:xfrm>
            <a:off x="596639" y="1643070"/>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3736937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59698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596982"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4363339"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4363838"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823690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8237401"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1928404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3" name="Picture Placeholder 4"/>
          <p:cNvSpPr>
            <a:spLocks noGrp="1"/>
          </p:cNvSpPr>
          <p:nvPr>
            <p:ph type="pic" sz="quarter" idx="14" hasCustomPrompt="1"/>
          </p:nvPr>
        </p:nvSpPr>
        <p:spPr>
          <a:xfrm>
            <a:off x="596900"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40130474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596900"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Rectangle 3"/>
          <p:cNvSpPr/>
          <p:nvPr/>
        </p:nvSpPr>
        <p:spPr>
          <a:xfrm>
            <a:off x="596901"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algn="l">
              <a:lnSpc>
                <a:spcPct val="110000"/>
              </a:lnSpc>
            </a:pPr>
            <a:endParaRPr lang="en-GB" sz="1200" b="0" i="1" noProof="0" dirty="0">
              <a:solidFill>
                <a:schemeClr val="bg1"/>
              </a:solidFill>
            </a:endParaRPr>
          </a:p>
        </p:txBody>
      </p:sp>
      <p:sp>
        <p:nvSpPr>
          <p:cNvPr id="13"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15531610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6394076"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16195919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7"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6394076"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24" name="Rectangle 23"/>
          <p:cNvSpPr/>
          <p:nvPr/>
        </p:nvSpPr>
        <p:spPr>
          <a:xfrm>
            <a:off x="6394077"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algn="l">
              <a:lnSpc>
                <a:spcPct val="110000"/>
              </a:lnSpc>
            </a:pPr>
            <a:endParaRPr lang="en-GB" sz="1200" b="0" i="1" noProof="0" dirty="0">
              <a:solidFill>
                <a:schemeClr val="bg1"/>
              </a:solidFill>
            </a:endParaRPr>
          </a:p>
        </p:txBody>
      </p:sp>
      <p:sp>
        <p:nvSpPr>
          <p:cNvPr id="9" name="Text Placeholder 6"/>
          <p:cNvSpPr>
            <a:spLocks noGrp="1"/>
          </p:cNvSpPr>
          <p:nvPr>
            <p:ph type="body" sz="quarter" idx="22" hasCustomPrompt="1"/>
          </p:nvPr>
        </p:nvSpPr>
        <p:spPr>
          <a:xfrm>
            <a:off x="65024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34095931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604857" y="2436482"/>
            <a:ext cx="5206276"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6369119" y="2436482"/>
            <a:ext cx="5222021"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602274"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9" name="Text Placeholder 5"/>
          <p:cNvSpPr>
            <a:spLocks noGrp="1"/>
          </p:cNvSpPr>
          <p:nvPr>
            <p:ph type="body" sz="quarter" idx="22" hasCustomPrompt="1"/>
          </p:nvPr>
        </p:nvSpPr>
        <p:spPr>
          <a:xfrm>
            <a:off x="6368647"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12654734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595232" y="1454730"/>
            <a:ext cx="10981011" cy="4425756"/>
          </a:xfrm>
          <a:prstGeom prst="rect">
            <a:avLst/>
          </a:prstGeom>
        </p:spPr>
        <p:txBody>
          <a:bodyPr/>
          <a:lstStyle>
            <a:lvl1pPr>
              <a:lnSpc>
                <a:spcPct val="150000"/>
              </a:lnSpc>
              <a:defRPr sz="2000"/>
            </a:lvl1pPr>
            <a:lvl2pPr>
              <a:lnSpc>
                <a:spcPct val="150000"/>
              </a:lnSpc>
              <a:defRPr sz="2000"/>
            </a:lvl2pPr>
            <a:lvl3pPr>
              <a:lnSpc>
                <a:spcPct val="150000"/>
              </a:lnSpc>
              <a:defRPr sz="2000"/>
            </a:lvl3pPr>
            <a:lvl4pPr>
              <a:lnSpc>
                <a:spcPct val="150000"/>
              </a:lnSpc>
              <a:defRPr sz="2000"/>
            </a:lvl4pPr>
            <a:lvl5pPr>
              <a:lnSpc>
                <a:spcPct val="150000"/>
              </a:lnSpc>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1293200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600860" y="1579754"/>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6329159" y="1579754"/>
            <a:ext cx="5261980"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600860" y="3870478"/>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6329159" y="3870478"/>
            <a:ext cx="5261980" cy="1830413"/>
          </a:xfrm>
          <a:prstGeom prst="rect">
            <a:avLst/>
          </a:prstGeom>
        </p:spPr>
        <p:txBody>
          <a:bodyPr lIns="91440">
            <a:noAutofit/>
          </a:bodyPr>
          <a:lstStyle>
            <a:lvl1pPr>
              <a:lnSpc>
                <a:spcPct val="100000"/>
              </a:lnSpc>
              <a:spcBef>
                <a:spcPts val="533"/>
              </a:spcBef>
              <a:defRPr sz="1467" kern="1200"/>
            </a:lvl1pPr>
            <a:lvl2pPr>
              <a:lnSpc>
                <a:spcPct val="100000"/>
              </a:lnSpc>
              <a:spcBef>
                <a:spcPts val="533"/>
              </a:spcBef>
              <a:defRPr sz="1467"/>
            </a:lvl2pPr>
            <a:lvl3pPr>
              <a:lnSpc>
                <a:spcPct val="100000"/>
              </a:lnSpc>
              <a:spcBef>
                <a:spcPts val="533"/>
              </a:spcBef>
              <a:defRPr sz="1467" kern="1200"/>
            </a:lvl3pPr>
            <a:lvl4pPr>
              <a:lnSpc>
                <a:spcPct val="100000"/>
              </a:lnSpc>
              <a:spcBef>
                <a:spcPts val="533"/>
              </a:spcBef>
              <a:defRPr sz="1467" kern="1200"/>
            </a:lvl4pPr>
            <a:lvl5pPr>
              <a:lnSpc>
                <a:spcPct val="100000"/>
              </a:lnSpc>
              <a:spcBef>
                <a:spcPts val="533"/>
              </a:spcBef>
              <a:defRPr sz="1467"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96492164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60086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60227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6" name="Text Placeholder 12"/>
          <p:cNvSpPr>
            <a:spLocks noGrp="1"/>
          </p:cNvSpPr>
          <p:nvPr>
            <p:ph type="body" sz="quarter" idx="22" hasCustomPrompt="1"/>
          </p:nvPr>
        </p:nvSpPr>
        <p:spPr>
          <a:xfrm>
            <a:off x="630688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630829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8" name="Text Placeholder 12"/>
          <p:cNvSpPr>
            <a:spLocks noGrp="1"/>
          </p:cNvSpPr>
          <p:nvPr>
            <p:ph type="body" sz="quarter" idx="24" hasCustomPrompt="1"/>
          </p:nvPr>
        </p:nvSpPr>
        <p:spPr>
          <a:xfrm>
            <a:off x="600860" y="4205271"/>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60227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30" name="Text Placeholder 12"/>
          <p:cNvSpPr>
            <a:spLocks noGrp="1"/>
          </p:cNvSpPr>
          <p:nvPr>
            <p:ph type="body" sz="quarter" idx="26" hasCustomPrompt="1"/>
          </p:nvPr>
        </p:nvSpPr>
        <p:spPr>
          <a:xfrm>
            <a:off x="6306880" y="4205271"/>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630829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Tree>
    <p:extLst>
      <p:ext uri="{BB962C8B-B14F-4D97-AF65-F5344CB8AC3E}">
        <p14:creationId xmlns:p14="http://schemas.microsoft.com/office/powerpoint/2010/main" val="358389866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601704" y="1771146"/>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5107093" y="1665377"/>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601704" y="3183719"/>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5107093" y="3077950"/>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601704" y="4596292"/>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5107093" y="4490523"/>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Tree>
    <p:extLst>
      <p:ext uri="{BB962C8B-B14F-4D97-AF65-F5344CB8AC3E}">
        <p14:creationId xmlns:p14="http://schemas.microsoft.com/office/powerpoint/2010/main" val="2705395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3" name="Picture Placeholder 4"/>
          <p:cNvSpPr>
            <a:spLocks noGrp="1"/>
          </p:cNvSpPr>
          <p:nvPr>
            <p:ph type="pic" sz="quarter" idx="14" hasCustomPrompt="1"/>
          </p:nvPr>
        </p:nvSpPr>
        <p:spPr>
          <a:xfrm>
            <a:off x="6394076"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24" name="Rectangle 23"/>
          <p:cNvSpPr/>
          <p:nvPr userDrawn="1"/>
        </p:nvSpPr>
        <p:spPr>
          <a:xfrm>
            <a:off x="6394077"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algn="l">
              <a:lnSpc>
                <a:spcPct val="110000"/>
              </a:lnSpc>
            </a:pPr>
            <a:endParaRPr lang="en-GB" sz="1200" b="0" i="1" noProof="0">
              <a:solidFill>
                <a:schemeClr val="bg1"/>
              </a:solidFill>
            </a:endParaRPr>
          </a:p>
        </p:txBody>
      </p:sp>
      <p:sp>
        <p:nvSpPr>
          <p:cNvPr id="9" name="Text Placeholder 6"/>
          <p:cNvSpPr>
            <a:spLocks noGrp="1"/>
          </p:cNvSpPr>
          <p:nvPr>
            <p:ph type="body" sz="quarter" idx="22" hasCustomPrompt="1"/>
          </p:nvPr>
        </p:nvSpPr>
        <p:spPr>
          <a:xfrm>
            <a:off x="65024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a:solidFill>
                  <a:schemeClr val="bg1"/>
                </a:solidFill>
              </a:rPr>
              <a:t>Caption or</a:t>
            </a:r>
            <a:r>
              <a:rPr lang="en-GB" sz="1467" b="0" i="1" baseline="0" noProof="0">
                <a:solidFill>
                  <a:schemeClr val="bg1"/>
                </a:solidFill>
              </a:rPr>
              <a:t> credit for a photo could be put in this space. </a:t>
            </a:r>
            <a:r>
              <a:rPr lang="en-GB" sz="1467" b="0" i="1" noProof="0">
                <a:solidFill>
                  <a:schemeClr val="bg1"/>
                </a:solidFill>
              </a:rPr>
              <a:t>You may adjust the height of this box</a:t>
            </a:r>
            <a:r>
              <a:rPr lang="en-GB" sz="1467" b="0" i="1" baseline="0" noProof="0">
                <a:solidFill>
                  <a:schemeClr val="bg1"/>
                </a:solidFill>
              </a:rPr>
              <a:t> to accommodate more or less text. Suggested number of lines of text is no less than two and no more than four.</a:t>
            </a:r>
            <a:endParaRPr lang="en-GB" sz="1467" b="0" i="1" noProof="0">
              <a:solidFill>
                <a:schemeClr val="bg1"/>
              </a:solidFill>
            </a:endParaRPr>
          </a:p>
        </p:txBody>
      </p:sp>
      <p:sp>
        <p:nvSpPr>
          <p:cNvPr id="3" name="Title Placeholder 1">
            <a:extLst>
              <a:ext uri="{FF2B5EF4-FFF2-40B4-BE49-F238E27FC236}">
                <a16:creationId xmlns:a16="http://schemas.microsoft.com/office/drawing/2014/main" id="{CA3ED416-1639-D0A9-3AF4-320D1CD1A757}"/>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6" name="Text Placeholder 12">
            <a:extLst>
              <a:ext uri="{FF2B5EF4-FFF2-40B4-BE49-F238E27FC236}">
                <a16:creationId xmlns:a16="http://schemas.microsoft.com/office/drawing/2014/main" id="{EEAEE1BA-23C2-918F-B8ED-869D63EA0223}"/>
              </a:ext>
            </a:extLst>
          </p:cNvPr>
          <p:cNvSpPr>
            <a:spLocks noGrp="1"/>
          </p:cNvSpPr>
          <p:nvPr>
            <p:ph type="body" sz="quarter" idx="20" hasCustomPrompt="1"/>
          </p:nvPr>
        </p:nvSpPr>
        <p:spPr>
          <a:xfrm>
            <a:off x="598444" y="2419234"/>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5">
            <a:extLst>
              <a:ext uri="{FF2B5EF4-FFF2-40B4-BE49-F238E27FC236}">
                <a16:creationId xmlns:a16="http://schemas.microsoft.com/office/drawing/2014/main" id="{39DAD6E9-9ECB-849B-340D-03F88DD10A43}"/>
              </a:ext>
            </a:extLst>
          </p:cNvPr>
          <p:cNvSpPr>
            <a:spLocks noGrp="1"/>
          </p:cNvSpPr>
          <p:nvPr>
            <p:ph type="body" sz="quarter" idx="19" hasCustomPrompt="1"/>
          </p:nvPr>
        </p:nvSpPr>
        <p:spPr>
          <a:xfrm>
            <a:off x="596639" y="1643070"/>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290995343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99242"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594965"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596981" y="4568535"/>
            <a:ext cx="10995323" cy="1282231"/>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6316508"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6312232"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44237566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9053103"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599708" y="1567520"/>
            <a:ext cx="2522065" cy="802640"/>
          </a:xfrm>
          <a:prstGeom prst="rect">
            <a:avLst/>
          </a:prstGeom>
          <a:solidFill>
            <a:schemeClr val="accent3"/>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6121019" y="2471043"/>
            <a:ext cx="2524125" cy="3389236"/>
          </a:xfrm>
          <a:prstGeom prst="rect">
            <a:avLst/>
          </a:prstGeom>
        </p:spPr>
        <p:txBody>
          <a:bodyPr>
            <a:noAutofit/>
          </a:bodyPr>
          <a:lstStyle>
            <a:lvl1pPr marL="0" indent="-182875">
              <a:lnSpc>
                <a:spcPct val="100000"/>
              </a:lnSpc>
              <a:buClr>
                <a:schemeClr val="accent2"/>
              </a:buClr>
              <a:defRPr sz="1200"/>
            </a:lvl1pPr>
            <a:lvl2pPr marL="359991" indent="-182395">
              <a:lnSpc>
                <a:spcPct val="100000"/>
              </a:lnSpc>
              <a:buClr>
                <a:schemeClr val="accent2"/>
              </a:buClr>
              <a:defRPr sz="1200"/>
            </a:lvl2pPr>
            <a:lvl3pPr marL="479988" indent="-182395" algn="l">
              <a:lnSpc>
                <a:spcPct val="100000"/>
              </a:lnSpc>
              <a:buClr>
                <a:schemeClr val="accent2"/>
              </a:buClr>
              <a:defRPr sz="1200"/>
            </a:lvl3pPr>
            <a:lvl4pPr marL="681583" indent="-182395">
              <a:lnSpc>
                <a:spcPct val="100000"/>
              </a:lnSpc>
              <a:buClr>
                <a:schemeClr val="accent2"/>
              </a:buClr>
              <a:defRPr sz="1200"/>
            </a:lvl4pPr>
            <a:lvl5pPr marL="873578" indent="-182395">
              <a:lnSpc>
                <a:spcPct val="100000"/>
              </a:lnSpc>
              <a:buClr>
                <a:schemeClr val="accent2"/>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3360167" y="2471043"/>
            <a:ext cx="2524125" cy="3389236"/>
          </a:xfrm>
          <a:prstGeom prst="rect">
            <a:avLst/>
          </a:prstGeom>
        </p:spPr>
        <p:txBody>
          <a:bodyPr>
            <a:noAutofit/>
          </a:bodyPr>
          <a:lstStyle>
            <a:lvl1pPr marL="0" indent="-182875">
              <a:lnSpc>
                <a:spcPct val="100000"/>
              </a:lnSpc>
              <a:buClr>
                <a:schemeClr val="accent5"/>
              </a:buClr>
              <a:defRPr sz="1200"/>
            </a:lvl1pPr>
            <a:lvl2pPr marL="359991" indent="-182395">
              <a:lnSpc>
                <a:spcPct val="100000"/>
              </a:lnSpc>
              <a:buClr>
                <a:schemeClr val="accent5"/>
              </a:buClr>
              <a:defRPr sz="1200"/>
            </a:lvl2pPr>
            <a:lvl3pPr marL="479988" indent="-182395" algn="l">
              <a:lnSpc>
                <a:spcPct val="100000"/>
              </a:lnSpc>
              <a:buClr>
                <a:schemeClr val="accent5"/>
              </a:buClr>
              <a:defRPr sz="1200"/>
            </a:lvl3pPr>
            <a:lvl4pPr marL="681583" indent="-182395">
              <a:lnSpc>
                <a:spcPct val="100000"/>
              </a:lnSpc>
              <a:buClr>
                <a:schemeClr val="accent5"/>
              </a:buClr>
              <a:defRPr sz="1200"/>
            </a:lvl4pPr>
            <a:lvl5pPr marL="873578" indent="-182395">
              <a:lnSpc>
                <a:spcPct val="100000"/>
              </a:lnSpc>
              <a:buClr>
                <a:schemeClr val="accent5"/>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99315" y="2471043"/>
            <a:ext cx="2524125" cy="3389236"/>
          </a:xfrm>
          <a:prstGeom prst="rect">
            <a:avLst/>
          </a:prstGeom>
        </p:spPr>
        <p:txBody>
          <a:bodyPr>
            <a:noAutofit/>
          </a:bodyPr>
          <a:lstStyle>
            <a:lvl1pPr marL="0" indent="-182875">
              <a:lnSpc>
                <a:spcPct val="100000"/>
              </a:lnSpc>
              <a:buClr>
                <a:schemeClr val="accent3"/>
              </a:buClr>
              <a:defRPr sz="1200"/>
            </a:lvl1pPr>
            <a:lvl2pPr marL="359991" indent="-182395">
              <a:lnSpc>
                <a:spcPct val="100000"/>
              </a:lnSpc>
              <a:buClr>
                <a:schemeClr val="accent3"/>
              </a:buClr>
              <a:defRPr sz="1200"/>
            </a:lvl2pPr>
            <a:lvl3pPr marL="479988" indent="-182395" algn="l">
              <a:lnSpc>
                <a:spcPct val="100000"/>
              </a:lnSpc>
              <a:buClr>
                <a:schemeClr val="accent3"/>
              </a:buClr>
              <a:defRPr sz="1200"/>
            </a:lvl3pPr>
            <a:lvl4pPr marL="681583" indent="-182395">
              <a:lnSpc>
                <a:spcPct val="100000"/>
              </a:lnSpc>
              <a:buClr>
                <a:schemeClr val="accent3"/>
              </a:buClr>
              <a:defRPr sz="1200"/>
            </a:lvl4pPr>
            <a:lvl5pPr marL="873578" indent="-182395">
              <a:lnSpc>
                <a:spcPct val="100000"/>
              </a:lnSpc>
              <a:buClr>
                <a:schemeClr val="accent3"/>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3364401" y="1567520"/>
            <a:ext cx="2522065" cy="802640"/>
          </a:xfrm>
          <a:prstGeom prst="rect">
            <a:avLst/>
          </a:prstGeom>
          <a:solidFill>
            <a:schemeClr val="accent5"/>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6117571" y="1567520"/>
            <a:ext cx="2522065" cy="802640"/>
          </a:xfrm>
          <a:prstGeom prst="rect">
            <a:avLst/>
          </a:prstGeom>
          <a:solidFill>
            <a:schemeClr val="accent2"/>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9065016" y="1567520"/>
            <a:ext cx="2522065" cy="802640"/>
          </a:xfrm>
          <a:prstGeom prst="rect">
            <a:avLst/>
          </a:prstGeom>
          <a:solidFill>
            <a:schemeClr val="accent4"/>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2105401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588970" y="1515564"/>
            <a:ext cx="10995801" cy="415832"/>
          </a:xfrm>
          <a:prstGeom prst="rect">
            <a:avLst/>
          </a:prstGeom>
        </p:spPr>
        <p:txBody>
          <a:bodyPr lIns="144000" rIns="144000">
            <a:normAutofit/>
          </a:bodyPr>
          <a:lstStyle>
            <a:lvl1pPr marL="0" indent="0">
              <a:buFontTx/>
              <a:buNone/>
              <a:defRPr sz="1867" b="1" i="0"/>
            </a:lvl1pPr>
          </a:lstStyle>
          <a:p>
            <a:pPr lvl="0"/>
            <a:r>
              <a:rPr lang="en-GB" noProof="0"/>
              <a:t>Name</a:t>
            </a:r>
          </a:p>
        </p:txBody>
      </p:sp>
      <p:sp>
        <p:nvSpPr>
          <p:cNvPr id="21" name="Text Placeholder 2"/>
          <p:cNvSpPr>
            <a:spLocks noGrp="1"/>
          </p:cNvSpPr>
          <p:nvPr>
            <p:ph idx="13" hasCustomPrompt="1"/>
          </p:nvPr>
        </p:nvSpPr>
        <p:spPr bwMode="auto">
          <a:xfrm>
            <a:off x="588970" y="1911934"/>
            <a:ext cx="10986549" cy="478060"/>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r>
              <a:rPr lang="en-GB" noProof="0"/>
              <a:t>Title</a:t>
            </a:r>
          </a:p>
        </p:txBody>
      </p:sp>
      <p:sp>
        <p:nvSpPr>
          <p:cNvPr id="22" name="Text Placeholder 2"/>
          <p:cNvSpPr>
            <a:spLocks noGrp="1"/>
          </p:cNvSpPr>
          <p:nvPr>
            <p:ph idx="16" hasCustomPrompt="1"/>
          </p:nvPr>
        </p:nvSpPr>
        <p:spPr bwMode="auto">
          <a:xfrm>
            <a:off x="1077863" y="3887049"/>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23" name="Text Placeholder 2"/>
          <p:cNvSpPr>
            <a:spLocks noGrp="1"/>
          </p:cNvSpPr>
          <p:nvPr>
            <p:ph idx="17" hasCustomPrompt="1"/>
          </p:nvPr>
        </p:nvSpPr>
        <p:spPr bwMode="auto">
          <a:xfrm>
            <a:off x="588970" y="5413418"/>
            <a:ext cx="10986549" cy="384871"/>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1" i="0">
                <a:solidFill>
                  <a:schemeClr val="accent1"/>
                </a:solidFill>
              </a:defRPr>
            </a:lvl1pPr>
            <a:lvl2pPr marL="362991" indent="0">
              <a:buNone/>
              <a:defRPr/>
            </a:lvl2pPr>
            <a:lvl3pPr marL="718182" indent="0">
              <a:buNone/>
              <a:defRPr/>
            </a:lvl3pPr>
            <a:lvl4pPr marL="1096802" indent="0">
              <a:buNone/>
              <a:defRPr/>
            </a:lvl4pPr>
            <a:lvl5pPr marL="1384795" indent="0">
              <a:buNone/>
              <a:defRPr/>
            </a:lvl5pPr>
          </a:lstStyle>
          <a:p>
            <a:pPr lvl="0"/>
            <a:r>
              <a:rPr lang="en-GB" noProof="0"/>
              <a:t>www.gs1.org</a:t>
            </a:r>
          </a:p>
        </p:txBody>
      </p:sp>
      <p:sp>
        <p:nvSpPr>
          <p:cNvPr id="24" name="Text Placeholder 2"/>
          <p:cNvSpPr>
            <a:spLocks noGrp="1"/>
          </p:cNvSpPr>
          <p:nvPr>
            <p:ph idx="19" hasCustomPrompt="1"/>
          </p:nvPr>
        </p:nvSpPr>
        <p:spPr bwMode="auto">
          <a:xfrm>
            <a:off x="1077863" y="4895059"/>
            <a:ext cx="10506181" cy="336820"/>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name@gs1.org</a:t>
            </a:r>
          </a:p>
        </p:txBody>
      </p:sp>
      <p:sp>
        <p:nvSpPr>
          <p:cNvPr id="27" name="Text Placeholder 2"/>
          <p:cNvSpPr>
            <a:spLocks noGrp="1"/>
          </p:cNvSpPr>
          <p:nvPr>
            <p:ph idx="22" hasCustomPrompt="1"/>
          </p:nvPr>
        </p:nvSpPr>
        <p:spPr bwMode="auto">
          <a:xfrm>
            <a:off x="588970" y="2374946"/>
            <a:ext cx="10986549" cy="1390836"/>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0" baseline="0"/>
            </a:lvl1pPr>
            <a:lvl2pPr marL="362991" indent="0">
              <a:buNone/>
              <a:defRPr/>
            </a:lvl2pPr>
            <a:lvl3pPr marL="718182" indent="0">
              <a:buNone/>
              <a:defRPr/>
            </a:lvl3pPr>
            <a:lvl4pPr marL="1096802" indent="0">
              <a:buNone/>
              <a:defRPr/>
            </a:lvl4pPr>
            <a:lvl5pPr marL="1384795" indent="0">
              <a:buNone/>
              <a:defRPr/>
            </a:lvl5pPr>
          </a:lstStyle>
          <a:p>
            <a:pPr lvl="0"/>
            <a:r>
              <a:rPr lang="en-GB" noProof="0"/>
              <a:t>GS1 Address</a:t>
            </a:r>
          </a:p>
        </p:txBody>
      </p:sp>
      <p:sp>
        <p:nvSpPr>
          <p:cNvPr id="32" name="Text Placeholder 2"/>
          <p:cNvSpPr>
            <a:spLocks noGrp="1"/>
          </p:cNvSpPr>
          <p:nvPr>
            <p:ph idx="27" hasCustomPrompt="1"/>
          </p:nvPr>
        </p:nvSpPr>
        <p:spPr bwMode="auto">
          <a:xfrm>
            <a:off x="1077863" y="4222784"/>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33" name="Text Placeholder 2"/>
          <p:cNvSpPr>
            <a:spLocks noGrp="1"/>
          </p:cNvSpPr>
          <p:nvPr>
            <p:ph idx="28" hasCustomPrompt="1"/>
          </p:nvPr>
        </p:nvSpPr>
        <p:spPr bwMode="auto">
          <a:xfrm>
            <a:off x="1077863" y="4558518"/>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592195" y="3889056"/>
            <a:ext cx="388627" cy="354563"/>
          </a:xfrm>
          <a:prstGeom prst="rect">
            <a:avLst/>
          </a:prstGeom>
        </p:spPr>
        <p:txBody>
          <a:bodyPr vert="horz" lIns="72000" rIns="0"/>
          <a:lstStyle>
            <a:lvl1pPr marL="98998" indent="0" algn="l">
              <a:buNone/>
              <a:defRPr sz="1600" b="1" i="0"/>
            </a:lvl1pPr>
          </a:lstStyle>
          <a:p>
            <a:pPr lvl="0"/>
            <a:r>
              <a:rPr lang="en-GB" noProof="0"/>
              <a:t>T</a:t>
            </a:r>
          </a:p>
        </p:txBody>
      </p:sp>
      <p:sp>
        <p:nvSpPr>
          <p:cNvPr id="42" name="Text Placeholder 40"/>
          <p:cNvSpPr>
            <a:spLocks noGrp="1"/>
          </p:cNvSpPr>
          <p:nvPr>
            <p:ph type="body" sz="quarter" idx="34" hasCustomPrompt="1"/>
          </p:nvPr>
        </p:nvSpPr>
        <p:spPr>
          <a:xfrm>
            <a:off x="592195" y="4221377"/>
            <a:ext cx="388627" cy="354563"/>
          </a:xfrm>
          <a:prstGeom prst="rect">
            <a:avLst/>
          </a:prstGeom>
        </p:spPr>
        <p:txBody>
          <a:bodyPr vert="horz" lIns="72000" rIns="0"/>
          <a:lstStyle>
            <a:lvl1pPr marL="98998" indent="0" algn="l">
              <a:buNone/>
              <a:defRPr sz="1600" b="1" i="0"/>
            </a:lvl1pPr>
          </a:lstStyle>
          <a:p>
            <a:pPr lvl="0"/>
            <a:r>
              <a:rPr lang="en-GB" noProof="0"/>
              <a:t>D</a:t>
            </a:r>
          </a:p>
        </p:txBody>
      </p:sp>
      <p:sp>
        <p:nvSpPr>
          <p:cNvPr id="43" name="Text Placeholder 40"/>
          <p:cNvSpPr>
            <a:spLocks noGrp="1"/>
          </p:cNvSpPr>
          <p:nvPr>
            <p:ph type="body" sz="quarter" idx="35" hasCustomPrompt="1"/>
          </p:nvPr>
        </p:nvSpPr>
        <p:spPr>
          <a:xfrm>
            <a:off x="592195" y="4557932"/>
            <a:ext cx="388627" cy="354563"/>
          </a:xfrm>
          <a:prstGeom prst="rect">
            <a:avLst/>
          </a:prstGeom>
        </p:spPr>
        <p:txBody>
          <a:bodyPr vert="horz" lIns="72000" rIns="0"/>
          <a:lstStyle>
            <a:lvl1pPr marL="98998" indent="0" algn="l">
              <a:buNone/>
              <a:defRPr sz="1600" b="1" i="0"/>
            </a:lvl1pPr>
          </a:lstStyle>
          <a:p>
            <a:pPr lvl="0"/>
            <a:r>
              <a:rPr lang="en-GB" noProof="0"/>
              <a:t>M</a:t>
            </a:r>
          </a:p>
        </p:txBody>
      </p:sp>
      <p:sp>
        <p:nvSpPr>
          <p:cNvPr id="44" name="Text Placeholder 40"/>
          <p:cNvSpPr>
            <a:spLocks noGrp="1"/>
          </p:cNvSpPr>
          <p:nvPr>
            <p:ph type="body" sz="quarter" idx="36" hasCustomPrompt="1"/>
          </p:nvPr>
        </p:nvSpPr>
        <p:spPr>
          <a:xfrm>
            <a:off x="592195" y="4894839"/>
            <a:ext cx="388627" cy="354563"/>
          </a:xfrm>
          <a:prstGeom prst="rect">
            <a:avLst/>
          </a:prstGeom>
        </p:spPr>
        <p:txBody>
          <a:bodyPr vert="horz" lIns="72000" rIns="0"/>
          <a:lstStyle>
            <a:lvl1pPr marL="98998" indent="0" algn="l">
              <a:buNone/>
              <a:defRPr sz="1600" b="1" i="0"/>
            </a:lvl1pPr>
          </a:lstStyle>
          <a:p>
            <a:pPr lvl="0"/>
            <a:r>
              <a:rPr lang="en-GB" noProof="0"/>
              <a:t>E</a:t>
            </a:r>
          </a:p>
        </p:txBody>
      </p:sp>
    </p:spTree>
    <p:extLst>
      <p:ext uri="{BB962C8B-B14F-4D97-AF65-F5344CB8AC3E}">
        <p14:creationId xmlns:p14="http://schemas.microsoft.com/office/powerpoint/2010/main" val="35674670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Red/Gray 1 Content">
    <p:bg>
      <p:bgPr>
        <a:solidFill>
          <a:srgbClr val="E7E7E5"/>
        </a:solidFill>
        <a:effectLst/>
      </p:bgPr>
    </p:bg>
    <p:spTree>
      <p:nvGrpSpPr>
        <p:cNvPr id="1" name=""/>
        <p:cNvGrpSpPr/>
        <p:nvPr/>
      </p:nvGrpSpPr>
      <p:grpSpPr>
        <a:xfrm>
          <a:off x="0" y="0"/>
          <a:ext cx="0" cy="0"/>
          <a:chOff x="0" y="0"/>
          <a:chExt cx="0" cy="0"/>
        </a:xfrm>
      </p:grpSpPr>
      <p:sp>
        <p:nvSpPr>
          <p:cNvPr id="7" name="Rectangle 6"/>
          <p:cNvSpPr/>
          <p:nvPr userDrawn="1"/>
        </p:nvSpPr>
        <p:spPr>
          <a:xfrm>
            <a:off x="203200" y="152401"/>
            <a:ext cx="11785600" cy="60960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3" name="Content Placeholder 2"/>
          <p:cNvSpPr>
            <a:spLocks noGrp="1"/>
          </p:cNvSpPr>
          <p:nvPr>
            <p:ph idx="1"/>
          </p:nvPr>
        </p:nvSpPr>
        <p:spPr>
          <a:xfrm>
            <a:off x="914400" y="1600200"/>
            <a:ext cx="10363200" cy="4495800"/>
          </a:xfrm>
        </p:spPr>
        <p:txBody>
          <a:body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914805" y="817674"/>
            <a:ext cx="10363200" cy="553926"/>
          </a:xfrm>
        </p:spPr>
        <p:txBody>
          <a:bodyPr anchor="b" anchorCtr="0">
            <a:spAutoFit/>
          </a:bodyPr>
          <a:lstStyle>
            <a:lvl1pPr>
              <a:lnSpc>
                <a:spcPct val="90000"/>
              </a:lnSpc>
              <a:defRPr>
                <a:solidFill>
                  <a:srgbClr val="F15623"/>
                </a:solidFill>
              </a:defRPr>
            </a:lvl1pPr>
          </a:lstStyle>
          <a:p>
            <a:r>
              <a:rPr lang="en-US" dirty="0"/>
              <a:t>CLICK TO EDIT MASTER TITLE STYLE</a:t>
            </a:r>
          </a:p>
        </p:txBody>
      </p:sp>
      <p:sp>
        <p:nvSpPr>
          <p:cNvPr id="8" name="Rectangle 12"/>
          <p:cNvSpPr>
            <a:spLocks noGrp="1" noChangeArrowheads="1"/>
          </p:cNvSpPr>
          <p:nvPr>
            <p:ph type="sldNum" sz="quarter" idx="4"/>
          </p:nvPr>
        </p:nvSpPr>
        <p:spPr>
          <a:xfrm>
            <a:off x="11387885" y="6324601"/>
            <a:ext cx="600915" cy="381561"/>
          </a:xfrm>
          <a:prstGeom prst="rect">
            <a:avLst/>
          </a:prstGeom>
          <a:ln/>
        </p:spPr>
        <p:txBody>
          <a:bodyPr/>
          <a:lstStyle>
            <a:lvl1pPr>
              <a:defRPr sz="1400">
                <a:solidFill>
                  <a:srgbClr val="002F6C"/>
                </a:solidFill>
              </a:defRPr>
            </a:lvl1pPr>
          </a:lstStyle>
          <a:p>
            <a:pPr>
              <a:defRPr/>
            </a:pPr>
            <a:fld id="{E98C21D7-7221-41B3-99CB-39FB187843E5}" type="slidenum">
              <a:rPr lang="en-GB" smtClean="0"/>
              <a:pPr>
                <a:defRPr/>
              </a:pPr>
              <a:t>‹#›</a:t>
            </a:fld>
            <a:endParaRPr lang="en-GB" dirty="0"/>
          </a:p>
        </p:txBody>
      </p:sp>
    </p:spTree>
    <p:extLst>
      <p:ext uri="{BB962C8B-B14F-4D97-AF65-F5344CB8AC3E}">
        <p14:creationId xmlns:p14="http://schemas.microsoft.com/office/powerpoint/2010/main" val="171858287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1"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348045"/>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48045"/>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5</a:t>
            </a:fld>
            <a:endParaRPr lang="en-US"/>
          </a:p>
        </p:txBody>
      </p:sp>
      <p:sp>
        <p:nvSpPr>
          <p:cNvPr id="7" name="Holder 7"/>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107312">
              <a:lnSpc>
                <a:spcPts val="1240"/>
              </a:lnSpc>
            </a:pPr>
            <a:fld id="{81D60167-4931-47E6-BA6A-407CBD079E47}" type="slidenum">
              <a:rPr lang="en-ZA" spc="-51" smtClean="0"/>
              <a:pPr marL="107312">
                <a:lnSpc>
                  <a:spcPts val="1240"/>
                </a:lnSpc>
              </a:pPr>
              <a:t>‹#›</a:t>
            </a:fld>
            <a:endParaRPr lang="en-ZA" spc="-51" dirty="0"/>
          </a:p>
        </p:txBody>
      </p:sp>
    </p:spTree>
    <p:extLst>
      <p:ext uri="{BB962C8B-B14F-4D97-AF65-F5344CB8AC3E}">
        <p14:creationId xmlns:p14="http://schemas.microsoft.com/office/powerpoint/2010/main" val="159151293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orporate Visua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771482" y="2863617"/>
            <a:ext cx="8631948" cy="727163"/>
          </a:xfrm>
          <a:prstGeom prst="rect">
            <a:avLst/>
          </a:prstGeom>
        </p:spPr>
        <p:txBody>
          <a:bodyPr lIns="0" tIns="0" rIns="0" bIns="0" anchor="t" anchorCtr="0"/>
          <a:lstStyle>
            <a:lvl1pPr algn="l">
              <a:lnSpc>
                <a:spcPct val="100000"/>
              </a:lnSpc>
              <a:defRPr sz="2400"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771492" y="3719459"/>
            <a:ext cx="8631939" cy="562237"/>
          </a:xfrm>
          <a:prstGeom prst="rect">
            <a:avLst/>
          </a:prstGeom>
        </p:spPr>
        <p:txBody>
          <a:bodyPr lIns="0" tIns="0" rIns="0" bIns="0"/>
          <a:lstStyle>
            <a:lvl1pPr marL="0" indent="0" algn="l">
              <a:buNone/>
              <a:defRPr sz="1600" b="0" i="0" cap="none" spc="120" baseline="0">
                <a:solidFill>
                  <a:srgbClr val="FFFFFF"/>
                </a:solidFill>
                <a:latin typeface="Verdana"/>
                <a:cs typeface="Verdana"/>
              </a:defRPr>
            </a:lvl1pPr>
          </a:lstStyle>
          <a:p>
            <a:pPr lvl="0"/>
            <a:r>
              <a:rPr lang="en-GB" noProof="0"/>
              <a:t>Click to Add Subtitle</a:t>
            </a:r>
          </a:p>
        </p:txBody>
      </p:sp>
      <p:cxnSp>
        <p:nvCxnSpPr>
          <p:cNvPr id="11" name="Straight Connector 10"/>
          <p:cNvCxnSpPr/>
          <p:nvPr/>
        </p:nvCxnSpPr>
        <p:spPr>
          <a:xfrm>
            <a:off x="766690" y="4401984"/>
            <a:ext cx="8625655" cy="344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786223" y="4544427"/>
            <a:ext cx="8617208" cy="521519"/>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786198" y="5111679"/>
            <a:ext cx="8617233"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13518232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olour Bloc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4" name="Title 2"/>
          <p:cNvSpPr>
            <a:spLocks noGrp="1"/>
          </p:cNvSpPr>
          <p:nvPr>
            <p:ph type="title" hasCustomPrompt="1"/>
          </p:nvPr>
        </p:nvSpPr>
        <p:spPr>
          <a:xfrm>
            <a:off x="771482" y="2863617"/>
            <a:ext cx="10644377" cy="727163"/>
          </a:xfrm>
          <a:prstGeom prst="rect">
            <a:avLst/>
          </a:prstGeom>
        </p:spPr>
        <p:txBody>
          <a:bodyPr lIns="0" tIns="0" rIns="0" bIns="0" anchor="t" anchorCtr="0"/>
          <a:lstStyle>
            <a:lvl1pPr algn="l">
              <a:lnSpc>
                <a:spcPct val="100000"/>
              </a:lnSpc>
              <a:defRPr sz="2400"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5" name="Text Placeholder 19"/>
          <p:cNvSpPr>
            <a:spLocks noGrp="1"/>
          </p:cNvSpPr>
          <p:nvPr>
            <p:ph type="body" sz="quarter" idx="11" hasCustomPrompt="1"/>
          </p:nvPr>
        </p:nvSpPr>
        <p:spPr>
          <a:xfrm>
            <a:off x="771492" y="3719459"/>
            <a:ext cx="10644365" cy="562237"/>
          </a:xfrm>
          <a:prstGeom prst="rect">
            <a:avLst/>
          </a:prstGeom>
        </p:spPr>
        <p:txBody>
          <a:bodyPr lIns="0" tIns="0" rIns="0" bIns="0"/>
          <a:lstStyle>
            <a:lvl1pPr marL="0" indent="0" algn="l">
              <a:buNone/>
              <a:defRPr sz="1600" b="0" i="0" cap="none" spc="120" baseline="0">
                <a:solidFill>
                  <a:srgbClr val="FFFFFF"/>
                </a:solidFill>
                <a:latin typeface="Verdana"/>
                <a:cs typeface="Verdana"/>
              </a:defRPr>
            </a:lvl1pPr>
          </a:lstStyle>
          <a:p>
            <a:pPr lvl="0"/>
            <a:r>
              <a:rPr lang="en-GB" noProof="0"/>
              <a:t>Click to Add Subtitle</a:t>
            </a:r>
          </a:p>
        </p:txBody>
      </p:sp>
      <p:cxnSp>
        <p:nvCxnSpPr>
          <p:cNvPr id="20" name="Straight Connector 19"/>
          <p:cNvCxnSpPr/>
          <p:nvPr/>
        </p:nvCxnSpPr>
        <p:spPr>
          <a:xfrm>
            <a:off x="766689" y="4401983"/>
            <a:ext cx="10636616" cy="5163"/>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786223" y="4544427"/>
            <a:ext cx="10626200" cy="521519"/>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22" name="Text Placeholder 19"/>
          <p:cNvSpPr>
            <a:spLocks noGrp="1"/>
          </p:cNvSpPr>
          <p:nvPr>
            <p:ph type="body" sz="quarter" idx="14" hasCustomPrompt="1"/>
          </p:nvPr>
        </p:nvSpPr>
        <p:spPr>
          <a:xfrm>
            <a:off x="786197" y="5111679"/>
            <a:ext cx="10626232"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350432622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Block and Photo">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6"/>
          </p:nvPr>
        </p:nvSpPr>
        <p:spPr>
          <a:xfrm>
            <a:off x="9656234" y="2743200"/>
            <a:ext cx="1947333" cy="2741613"/>
          </a:xfrm>
          <a:prstGeom prst="rect">
            <a:avLst/>
          </a:prstGeom>
        </p:spPr>
        <p:txBody>
          <a:bodyPr vert="horz"/>
          <a:lstStyle>
            <a:lvl1pPr marL="0" indent="0">
              <a:buNone/>
              <a:defRPr sz="1600" baseline="0">
                <a:solidFill>
                  <a:schemeClr val="bg2"/>
                </a:solidFill>
              </a:defRPr>
            </a:lvl1pPr>
          </a:lstStyle>
          <a:p>
            <a:r>
              <a:rPr lang="en-US" noProof="0"/>
              <a:t>Click icon to add picture</a:t>
            </a:r>
            <a:endParaRPr lang="en-GB" noProof="0"/>
          </a:p>
        </p:txBody>
      </p:sp>
      <p:sp>
        <p:nvSpPr>
          <p:cNvPr id="14" name="Title 2"/>
          <p:cNvSpPr>
            <a:spLocks noGrp="1"/>
          </p:cNvSpPr>
          <p:nvPr>
            <p:ph type="title" hasCustomPrompt="1"/>
          </p:nvPr>
        </p:nvSpPr>
        <p:spPr>
          <a:xfrm>
            <a:off x="771482" y="2863617"/>
            <a:ext cx="8631948" cy="727163"/>
          </a:xfrm>
          <a:prstGeom prst="rect">
            <a:avLst/>
          </a:prstGeom>
        </p:spPr>
        <p:txBody>
          <a:bodyPr lIns="0" tIns="0" rIns="0" bIns="0" anchor="t" anchorCtr="0"/>
          <a:lstStyle>
            <a:lvl1pPr algn="l">
              <a:lnSpc>
                <a:spcPct val="100000"/>
              </a:lnSpc>
              <a:defRPr sz="2400"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5" name="Text Placeholder 19"/>
          <p:cNvSpPr>
            <a:spLocks noGrp="1"/>
          </p:cNvSpPr>
          <p:nvPr>
            <p:ph type="body" sz="quarter" idx="11" hasCustomPrompt="1"/>
          </p:nvPr>
        </p:nvSpPr>
        <p:spPr>
          <a:xfrm>
            <a:off x="771492" y="3719459"/>
            <a:ext cx="8631939" cy="562237"/>
          </a:xfrm>
          <a:prstGeom prst="rect">
            <a:avLst/>
          </a:prstGeom>
        </p:spPr>
        <p:txBody>
          <a:bodyPr lIns="0" tIns="0" rIns="0" bIns="0"/>
          <a:lstStyle>
            <a:lvl1pPr marL="0" indent="0" algn="l">
              <a:buNone/>
              <a:defRPr sz="1600" b="0" i="0" cap="none" spc="120" baseline="0">
                <a:solidFill>
                  <a:srgbClr val="FFFFFF"/>
                </a:solidFill>
                <a:latin typeface="Verdana"/>
                <a:cs typeface="Verdana"/>
              </a:defRPr>
            </a:lvl1pPr>
          </a:lstStyle>
          <a:p>
            <a:pPr lvl="0"/>
            <a:r>
              <a:rPr lang="en-GB" noProof="0"/>
              <a:t>Click to Add Subtitle</a:t>
            </a:r>
          </a:p>
        </p:txBody>
      </p:sp>
      <p:cxnSp>
        <p:nvCxnSpPr>
          <p:cNvPr id="18" name="Straight Connector 17"/>
          <p:cNvCxnSpPr/>
          <p:nvPr/>
        </p:nvCxnSpPr>
        <p:spPr>
          <a:xfrm>
            <a:off x="766690" y="4401984"/>
            <a:ext cx="8625655" cy="344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786223" y="4544427"/>
            <a:ext cx="8617208" cy="521519"/>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22" name="Text Placeholder 19"/>
          <p:cNvSpPr>
            <a:spLocks noGrp="1"/>
          </p:cNvSpPr>
          <p:nvPr>
            <p:ph type="body" sz="quarter" idx="14" hasCustomPrompt="1"/>
          </p:nvPr>
        </p:nvSpPr>
        <p:spPr>
          <a:xfrm>
            <a:off x="786198" y="5111679"/>
            <a:ext cx="8617233"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280759513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5184130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16" name="Picture Placeholder 4"/>
          <p:cNvSpPr>
            <a:spLocks noGrp="1"/>
          </p:cNvSpPr>
          <p:nvPr>
            <p:ph type="pic" sz="quarter" idx="14" hasCustomPrompt="1"/>
          </p:nvPr>
        </p:nvSpPr>
        <p:spPr>
          <a:xfrm>
            <a:off x="604857" y="2436482"/>
            <a:ext cx="5206276"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6369119" y="2436482"/>
            <a:ext cx="5222021"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602274" y="1560035"/>
            <a:ext cx="5209685" cy="737544"/>
          </a:xfrm>
          <a:prstGeom prst="rect">
            <a:avLst/>
          </a:prstGeom>
        </p:spPr>
        <p:txBody>
          <a:bodyPr lIns="0" tIns="0" rIns="0" anchor="b" anchorCtr="0">
            <a:noAutofit/>
          </a:bodyPr>
          <a:lstStyle>
            <a:lvl1pPr marL="0" indent="0">
              <a:lnSpc>
                <a:spcPct val="100000"/>
              </a:lnSpc>
              <a:buFontTx/>
              <a:buNone/>
              <a:defRPr sz="2400" b="1" i="0"/>
            </a:lvl1pPr>
          </a:lstStyle>
          <a:p>
            <a:pPr lvl="0"/>
            <a:r>
              <a:rPr lang="en-GB" noProof="0"/>
              <a:t>Click to edit heading</a:t>
            </a:r>
          </a:p>
        </p:txBody>
      </p:sp>
      <p:sp>
        <p:nvSpPr>
          <p:cNvPr id="19" name="Text Placeholder 5"/>
          <p:cNvSpPr>
            <a:spLocks noGrp="1"/>
          </p:cNvSpPr>
          <p:nvPr>
            <p:ph type="body" sz="quarter" idx="22" hasCustomPrompt="1"/>
          </p:nvPr>
        </p:nvSpPr>
        <p:spPr>
          <a:xfrm>
            <a:off x="6368647" y="1560035"/>
            <a:ext cx="5209685" cy="737544"/>
          </a:xfrm>
          <a:prstGeom prst="rect">
            <a:avLst/>
          </a:prstGeom>
        </p:spPr>
        <p:txBody>
          <a:bodyPr lIns="0" tIns="0" rIns="0" anchor="b" anchorCtr="0">
            <a:noAutofit/>
          </a:bodyPr>
          <a:lstStyle>
            <a:lvl1pPr marL="0" indent="0">
              <a:lnSpc>
                <a:spcPct val="100000"/>
              </a:lnSpc>
              <a:buFontTx/>
              <a:buNone/>
              <a:defRPr sz="2400" b="1" i="0"/>
            </a:lvl1pPr>
          </a:lstStyle>
          <a:p>
            <a:pPr lvl="0"/>
            <a:r>
              <a:rPr lang="en-GB" noProof="0"/>
              <a:t>Click to edit heading</a:t>
            </a:r>
          </a:p>
        </p:txBody>
      </p:sp>
      <p:sp>
        <p:nvSpPr>
          <p:cNvPr id="3" name="Title Placeholder 1">
            <a:extLst>
              <a:ext uri="{FF2B5EF4-FFF2-40B4-BE49-F238E27FC236}">
                <a16:creationId xmlns:a16="http://schemas.microsoft.com/office/drawing/2014/main" id="{A97CD8AA-D66B-F0E3-F12C-6068FCA97F88}"/>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16256219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595232" y="1454730"/>
            <a:ext cx="10981011" cy="4425756"/>
          </a:xfrm>
          <a:prstGeom prst="rect">
            <a:avLst/>
          </a:prstGeom>
        </p:spPr>
        <p:txBody>
          <a:bodyPr lIns="0" tIns="0" rIns="0" bIns="0"/>
          <a:lstStyle>
            <a:lvl1pPr>
              <a:lnSpc>
                <a:spcPct val="150000"/>
              </a:lnSpc>
              <a:defRPr sz="2000"/>
            </a:lvl1pPr>
            <a:lvl2pPr>
              <a:lnSpc>
                <a:spcPct val="150000"/>
              </a:lnSpc>
              <a:defRPr sz="2000"/>
            </a:lvl2pPr>
            <a:lvl3pPr>
              <a:lnSpc>
                <a:spcPct val="150000"/>
              </a:lnSpc>
              <a:defRPr sz="2000"/>
            </a:lvl3pPr>
            <a:lvl4pPr>
              <a:lnSpc>
                <a:spcPct val="150000"/>
              </a:lnSpc>
              <a:defRPr sz="2000"/>
            </a:lvl4pPr>
            <a:lvl5pPr>
              <a:lnSpc>
                <a:spcPct val="150000"/>
              </a:lnSpc>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6" name="Title Placeholder 1">
            <a:extLst>
              <a:ext uri="{FF2B5EF4-FFF2-40B4-BE49-F238E27FC236}">
                <a16:creationId xmlns:a16="http://schemas.microsoft.com/office/drawing/2014/main" id="{DDD757B7-DE19-82F8-8928-A0FBB65E5C98}"/>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13930904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600860" y="1579754"/>
            <a:ext cx="5277477" cy="1830413"/>
          </a:xfrm>
          <a:prstGeom prst="rect">
            <a:avLst/>
          </a:prstGeom>
        </p:spPr>
        <p:txBody>
          <a:bodyPr tIns="0" rIns="0" bIns="0">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6329159" y="1579754"/>
            <a:ext cx="5261980" cy="1830413"/>
          </a:xfrm>
          <a:prstGeom prst="rect">
            <a:avLst/>
          </a:prstGeom>
        </p:spPr>
        <p:txBody>
          <a:bodyPr tIns="0" rIns="0" bIns="0">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600860" y="3870478"/>
            <a:ext cx="5277477" cy="1830413"/>
          </a:xfrm>
          <a:prstGeom prst="rect">
            <a:avLst/>
          </a:prstGeom>
        </p:spPr>
        <p:txBody>
          <a:bodyPr tIns="0" rIns="0" bIns="0">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6329159" y="3870478"/>
            <a:ext cx="5261980" cy="1830413"/>
          </a:xfrm>
          <a:prstGeom prst="rect">
            <a:avLst/>
          </a:prstGeom>
        </p:spPr>
        <p:txBody>
          <a:bodyPr lIns="91440" tIns="0" rIns="0" bIns="0">
            <a:noAutofit/>
          </a:bodyPr>
          <a:lstStyle>
            <a:lvl1pPr>
              <a:lnSpc>
                <a:spcPct val="100000"/>
              </a:lnSpc>
              <a:spcBef>
                <a:spcPts val="533"/>
              </a:spcBef>
              <a:defRPr sz="1467" kern="1200"/>
            </a:lvl1pPr>
            <a:lvl2pPr>
              <a:lnSpc>
                <a:spcPct val="100000"/>
              </a:lnSpc>
              <a:spcBef>
                <a:spcPts val="533"/>
              </a:spcBef>
              <a:defRPr sz="1467"/>
            </a:lvl2pPr>
            <a:lvl3pPr>
              <a:lnSpc>
                <a:spcPct val="100000"/>
              </a:lnSpc>
              <a:spcBef>
                <a:spcPts val="533"/>
              </a:spcBef>
              <a:defRPr sz="1467" kern="1200"/>
            </a:lvl3pPr>
            <a:lvl4pPr>
              <a:lnSpc>
                <a:spcPct val="100000"/>
              </a:lnSpc>
              <a:spcBef>
                <a:spcPts val="533"/>
              </a:spcBef>
              <a:defRPr sz="1467" kern="1200"/>
            </a:lvl4pPr>
            <a:lvl5pPr>
              <a:lnSpc>
                <a:spcPct val="100000"/>
              </a:lnSpc>
              <a:spcBef>
                <a:spcPts val="533"/>
              </a:spcBef>
              <a:defRPr sz="1467"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itle Placeholder 1">
            <a:extLst>
              <a:ext uri="{FF2B5EF4-FFF2-40B4-BE49-F238E27FC236}">
                <a16:creationId xmlns:a16="http://schemas.microsoft.com/office/drawing/2014/main" id="{9BF2EEA9-7791-5C56-E83A-5C529E7D7D67}"/>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8818707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cxnSp>
        <p:nvCxnSpPr>
          <p:cNvPr id="5" name="Straight Connector 4"/>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600860" y="2009068"/>
            <a:ext cx="5277477" cy="1511013"/>
          </a:xfrm>
          <a:prstGeom prst="rect">
            <a:avLst/>
          </a:prstGeom>
        </p:spPr>
        <p:txBody>
          <a:bodyPr lIns="0" tIns="0" rIns="0" bIns="0">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602273" y="1527167"/>
            <a:ext cx="5280403" cy="374821"/>
          </a:xfrm>
          <a:prstGeom prst="rect">
            <a:avLst/>
          </a:prstGeom>
        </p:spPr>
        <p:txBody>
          <a:bodyPr lIns="0" tIns="0" rIns="0" bIns="0" anchor="b" anchorCtr="0">
            <a:noAutofit/>
          </a:bodyPr>
          <a:lstStyle>
            <a:lvl1pPr marL="0" indent="0">
              <a:lnSpc>
                <a:spcPct val="100000"/>
              </a:lnSpc>
              <a:buFontTx/>
              <a:buNone/>
              <a:defRPr sz="1733" b="1" i="0"/>
            </a:lvl1pPr>
          </a:lstStyle>
          <a:p>
            <a:pPr lvl="0"/>
            <a:r>
              <a:rPr lang="en-GB" noProof="0"/>
              <a:t>Click to edit heading</a:t>
            </a:r>
          </a:p>
        </p:txBody>
      </p:sp>
      <p:sp>
        <p:nvSpPr>
          <p:cNvPr id="26" name="Text Placeholder 12"/>
          <p:cNvSpPr>
            <a:spLocks noGrp="1"/>
          </p:cNvSpPr>
          <p:nvPr>
            <p:ph type="body" sz="quarter" idx="22" hasCustomPrompt="1"/>
          </p:nvPr>
        </p:nvSpPr>
        <p:spPr>
          <a:xfrm>
            <a:off x="6306880" y="2009068"/>
            <a:ext cx="5277477" cy="1511013"/>
          </a:xfrm>
          <a:prstGeom prst="rect">
            <a:avLst/>
          </a:prstGeom>
        </p:spPr>
        <p:txBody>
          <a:bodyPr lIns="0" tIns="0" rIns="0" bIns="0">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6308293" y="1527167"/>
            <a:ext cx="5280403" cy="374821"/>
          </a:xfrm>
          <a:prstGeom prst="rect">
            <a:avLst/>
          </a:prstGeom>
        </p:spPr>
        <p:txBody>
          <a:bodyPr lIns="0" tIns="0" rIns="0" bIns="0" anchor="b" anchorCtr="0">
            <a:noAutofit/>
          </a:bodyPr>
          <a:lstStyle>
            <a:lvl1pPr marL="0" indent="0">
              <a:lnSpc>
                <a:spcPct val="100000"/>
              </a:lnSpc>
              <a:buFontTx/>
              <a:buNone/>
              <a:defRPr sz="1733" b="1" i="0"/>
            </a:lvl1pPr>
          </a:lstStyle>
          <a:p>
            <a:pPr lvl="0"/>
            <a:r>
              <a:rPr lang="en-GB" noProof="0"/>
              <a:t>Click to edit heading</a:t>
            </a:r>
          </a:p>
        </p:txBody>
      </p:sp>
      <p:sp>
        <p:nvSpPr>
          <p:cNvPr id="28" name="Text Placeholder 12"/>
          <p:cNvSpPr>
            <a:spLocks noGrp="1"/>
          </p:cNvSpPr>
          <p:nvPr>
            <p:ph type="body" sz="quarter" idx="24" hasCustomPrompt="1"/>
          </p:nvPr>
        </p:nvSpPr>
        <p:spPr>
          <a:xfrm>
            <a:off x="600860" y="4247372"/>
            <a:ext cx="5277477" cy="1511013"/>
          </a:xfrm>
          <a:prstGeom prst="rect">
            <a:avLst/>
          </a:prstGeom>
        </p:spPr>
        <p:txBody>
          <a:bodyPr lIns="0" tIns="0" rIns="0" bIns="0">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602273" y="3765471"/>
            <a:ext cx="5280403" cy="374821"/>
          </a:xfrm>
          <a:prstGeom prst="rect">
            <a:avLst/>
          </a:prstGeom>
        </p:spPr>
        <p:txBody>
          <a:bodyPr lIns="0" tIns="0" rIns="0" bIns="0" anchor="b" anchorCtr="0">
            <a:noAutofit/>
          </a:bodyPr>
          <a:lstStyle>
            <a:lvl1pPr marL="0" indent="0">
              <a:lnSpc>
                <a:spcPct val="100000"/>
              </a:lnSpc>
              <a:buFontTx/>
              <a:buNone/>
              <a:defRPr sz="1733" b="1" i="0"/>
            </a:lvl1pPr>
          </a:lstStyle>
          <a:p>
            <a:pPr lvl="0"/>
            <a:r>
              <a:rPr lang="en-GB" noProof="0"/>
              <a:t>Click to edit heading</a:t>
            </a:r>
          </a:p>
        </p:txBody>
      </p:sp>
      <p:sp>
        <p:nvSpPr>
          <p:cNvPr id="30" name="Text Placeholder 12"/>
          <p:cNvSpPr>
            <a:spLocks noGrp="1"/>
          </p:cNvSpPr>
          <p:nvPr>
            <p:ph type="body" sz="quarter" idx="26" hasCustomPrompt="1"/>
          </p:nvPr>
        </p:nvSpPr>
        <p:spPr>
          <a:xfrm>
            <a:off x="6306880" y="4247372"/>
            <a:ext cx="5277477" cy="1511013"/>
          </a:xfrm>
          <a:prstGeom prst="rect">
            <a:avLst/>
          </a:prstGeom>
        </p:spPr>
        <p:txBody>
          <a:bodyPr lIns="0" tIns="0" rIns="0" bIns="0">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6308293" y="3765471"/>
            <a:ext cx="5280403" cy="374821"/>
          </a:xfrm>
          <a:prstGeom prst="rect">
            <a:avLst/>
          </a:prstGeom>
        </p:spPr>
        <p:txBody>
          <a:bodyPr lIns="0" tIns="0" rIns="0" bIns="0" anchor="b" anchorCtr="0">
            <a:noAutofit/>
          </a:bodyPr>
          <a:lstStyle>
            <a:lvl1pPr marL="0" indent="0">
              <a:lnSpc>
                <a:spcPct val="100000"/>
              </a:lnSpc>
              <a:buFontTx/>
              <a:buNone/>
              <a:defRPr sz="1733" b="1" i="0"/>
            </a:lvl1pPr>
          </a:lstStyle>
          <a:p>
            <a:pPr lvl="0"/>
            <a:r>
              <a:rPr lang="en-GB" noProof="0"/>
              <a:t>Click to edit heading</a:t>
            </a:r>
          </a:p>
        </p:txBody>
      </p:sp>
      <p:sp>
        <p:nvSpPr>
          <p:cNvPr id="7" name="Title Placeholder 1">
            <a:extLst>
              <a:ext uri="{FF2B5EF4-FFF2-40B4-BE49-F238E27FC236}">
                <a16:creationId xmlns:a16="http://schemas.microsoft.com/office/drawing/2014/main" id="{06591B03-85E8-3FD1-1CBD-73E100DA67C2}"/>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8518084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601704" y="1771146"/>
            <a:ext cx="4061841" cy="971109"/>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5107093" y="1665377"/>
            <a:ext cx="6479680" cy="1223156"/>
          </a:xfrm>
          <a:prstGeom prst="rect">
            <a:avLst/>
          </a:prstGeom>
        </p:spPr>
        <p:txBody>
          <a:bodyPr lIns="0" tIns="0" rIns="0" bIns="0">
            <a:noAutofit/>
          </a:bodyPr>
          <a:lstStyle>
            <a:lvl1pPr>
              <a:defRPr sz="16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601704" y="3183719"/>
            <a:ext cx="4061841" cy="971109"/>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5107093" y="3077950"/>
            <a:ext cx="6479680" cy="1223156"/>
          </a:xfrm>
          <a:prstGeom prst="rect">
            <a:avLst/>
          </a:prstGeom>
        </p:spPr>
        <p:txBody>
          <a:bodyPr lIns="0" tIns="0" rIns="0" bIns="0">
            <a:noAutofit/>
          </a:bodyPr>
          <a:lstStyle>
            <a:lvl1pPr>
              <a:defRPr sz="16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601704" y="4596292"/>
            <a:ext cx="4061841" cy="971109"/>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5107093" y="4490523"/>
            <a:ext cx="6479680" cy="1223156"/>
          </a:xfrm>
          <a:prstGeom prst="rect">
            <a:avLst/>
          </a:prstGeom>
        </p:spPr>
        <p:txBody>
          <a:bodyPr lIns="0" tIns="0" rIns="0" bIns="0">
            <a:noAutofit/>
          </a:bodyPr>
          <a:lstStyle>
            <a:lvl1pPr>
              <a:defRPr sz="1600"/>
            </a:lvl1pPr>
          </a:lstStyle>
          <a:p>
            <a:pPr lvl="0"/>
            <a:r>
              <a:rPr lang="en-GB" noProof="0"/>
              <a:t>Add text here</a:t>
            </a:r>
          </a:p>
          <a:p>
            <a:pPr lvl="0"/>
            <a:endParaRPr lang="en-GB" noProof="0"/>
          </a:p>
        </p:txBody>
      </p:sp>
      <p:sp>
        <p:nvSpPr>
          <p:cNvPr id="2" name="Title Placeholder 1">
            <a:extLst>
              <a:ext uri="{FF2B5EF4-FFF2-40B4-BE49-F238E27FC236}">
                <a16:creationId xmlns:a16="http://schemas.microsoft.com/office/drawing/2014/main" id="{7AA87096-AAD9-1777-F02B-340CD52A77A3}"/>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40153372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99242" y="1567520"/>
            <a:ext cx="5265589" cy="802640"/>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9" name="Text Placeholder 12"/>
          <p:cNvSpPr>
            <a:spLocks noGrp="1"/>
          </p:cNvSpPr>
          <p:nvPr>
            <p:ph type="body" sz="quarter" idx="11" hasCustomPrompt="1"/>
          </p:nvPr>
        </p:nvSpPr>
        <p:spPr>
          <a:xfrm>
            <a:off x="594965" y="2471040"/>
            <a:ext cx="5276896" cy="1918080"/>
          </a:xfrm>
          <a:prstGeom prst="rect">
            <a:avLst/>
          </a:prstGeom>
        </p:spPr>
        <p:txBody>
          <a:bodyPr lIns="0" tIns="0" rIns="0" bIns="0">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596981" y="4568535"/>
            <a:ext cx="10995323" cy="1282231"/>
          </a:xfrm>
          <a:prstGeom prst="rect">
            <a:avLst/>
          </a:prstGeom>
        </p:spPr>
        <p:txBody>
          <a:bodyPr lIns="0" tIns="0" rIns="0" bIns="0">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6316508" y="1567520"/>
            <a:ext cx="5265589" cy="802640"/>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6312232" y="2471040"/>
            <a:ext cx="5276896" cy="1918080"/>
          </a:xfrm>
          <a:prstGeom prst="rect">
            <a:avLst/>
          </a:prstGeom>
        </p:spPr>
        <p:txBody>
          <a:bodyPr lIns="0" tIns="0" rIns="0" bIns="0">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itle Placeholder 1">
            <a:extLst>
              <a:ext uri="{FF2B5EF4-FFF2-40B4-BE49-F238E27FC236}">
                <a16:creationId xmlns:a16="http://schemas.microsoft.com/office/drawing/2014/main" id="{36E0FFB2-448F-BBE3-5C8D-9B681EE9CF89}"/>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374735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6" name="Text Placeholder 12"/>
          <p:cNvSpPr>
            <a:spLocks noGrp="1"/>
          </p:cNvSpPr>
          <p:nvPr>
            <p:ph type="body" sz="quarter" idx="21" hasCustomPrompt="1"/>
          </p:nvPr>
        </p:nvSpPr>
        <p:spPr>
          <a:xfrm>
            <a:off x="9053103" y="2471043"/>
            <a:ext cx="2524125" cy="3389236"/>
          </a:xfrm>
          <a:prstGeom prst="rect">
            <a:avLst/>
          </a:prstGeom>
        </p:spPr>
        <p:txBody>
          <a:bodyPr lIns="0" tIns="0" rIns="0" bIns="0">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599708" y="1567520"/>
            <a:ext cx="2522065" cy="802640"/>
          </a:xfrm>
          <a:prstGeom prst="rect">
            <a:avLst/>
          </a:prstGeom>
          <a:solidFill>
            <a:schemeClr val="accent3"/>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6270710" y="2471043"/>
            <a:ext cx="2524125" cy="3389236"/>
          </a:xfrm>
          <a:prstGeom prst="rect">
            <a:avLst/>
          </a:prstGeom>
        </p:spPr>
        <p:txBody>
          <a:bodyPr lIns="0" tIns="0" rIns="0" bIns="0">
            <a:noAutofit/>
          </a:bodyPr>
          <a:lstStyle>
            <a:lvl1pPr marL="0" indent="-182875">
              <a:lnSpc>
                <a:spcPct val="100000"/>
              </a:lnSpc>
              <a:buClr>
                <a:schemeClr val="accent2"/>
              </a:buClr>
              <a:defRPr sz="1200"/>
            </a:lvl1pPr>
            <a:lvl2pPr marL="359991" indent="-182395">
              <a:lnSpc>
                <a:spcPct val="100000"/>
              </a:lnSpc>
              <a:buClr>
                <a:schemeClr val="accent2"/>
              </a:buClr>
              <a:defRPr sz="1200"/>
            </a:lvl2pPr>
            <a:lvl3pPr marL="479988" indent="-182395" algn="l">
              <a:lnSpc>
                <a:spcPct val="100000"/>
              </a:lnSpc>
              <a:buClr>
                <a:schemeClr val="accent2"/>
              </a:buClr>
              <a:defRPr sz="1200"/>
            </a:lvl3pPr>
            <a:lvl4pPr marL="681583" indent="-182395">
              <a:lnSpc>
                <a:spcPct val="100000"/>
              </a:lnSpc>
              <a:buClr>
                <a:schemeClr val="accent2"/>
              </a:buClr>
              <a:defRPr sz="1200"/>
            </a:lvl4pPr>
            <a:lvl5pPr marL="873578" indent="-182395">
              <a:lnSpc>
                <a:spcPct val="100000"/>
              </a:lnSpc>
              <a:buClr>
                <a:schemeClr val="accent2"/>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3433288" y="2471043"/>
            <a:ext cx="2524125" cy="3389236"/>
          </a:xfrm>
          <a:prstGeom prst="rect">
            <a:avLst/>
          </a:prstGeom>
        </p:spPr>
        <p:txBody>
          <a:bodyPr lIns="0" tIns="0" rIns="0" bIns="0">
            <a:noAutofit/>
          </a:bodyPr>
          <a:lstStyle>
            <a:lvl1pPr marL="0" indent="-182875">
              <a:lnSpc>
                <a:spcPct val="100000"/>
              </a:lnSpc>
              <a:buClr>
                <a:schemeClr val="accent5"/>
              </a:buClr>
              <a:defRPr sz="1200"/>
            </a:lvl1pPr>
            <a:lvl2pPr marL="359991" indent="-182395">
              <a:lnSpc>
                <a:spcPct val="100000"/>
              </a:lnSpc>
              <a:buClr>
                <a:schemeClr val="accent5"/>
              </a:buClr>
              <a:defRPr sz="1200"/>
            </a:lvl2pPr>
            <a:lvl3pPr marL="479988" indent="-182395" algn="l">
              <a:lnSpc>
                <a:spcPct val="100000"/>
              </a:lnSpc>
              <a:buClr>
                <a:schemeClr val="accent5"/>
              </a:buClr>
              <a:defRPr sz="1200"/>
            </a:lvl3pPr>
            <a:lvl4pPr marL="681583" indent="-182395">
              <a:lnSpc>
                <a:spcPct val="100000"/>
              </a:lnSpc>
              <a:buClr>
                <a:schemeClr val="accent5"/>
              </a:buClr>
              <a:defRPr sz="1200"/>
            </a:lvl4pPr>
            <a:lvl5pPr marL="873578" indent="-182395">
              <a:lnSpc>
                <a:spcPct val="100000"/>
              </a:lnSpc>
              <a:buClr>
                <a:schemeClr val="accent5"/>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99315" y="2471043"/>
            <a:ext cx="2524125" cy="3389236"/>
          </a:xfrm>
          <a:prstGeom prst="rect">
            <a:avLst/>
          </a:prstGeom>
        </p:spPr>
        <p:txBody>
          <a:bodyPr lIns="0" tIns="0" rIns="0" bIns="0">
            <a:noAutofit/>
          </a:bodyPr>
          <a:lstStyle>
            <a:lvl1pPr marL="0" indent="-182875">
              <a:lnSpc>
                <a:spcPct val="100000"/>
              </a:lnSpc>
              <a:buClr>
                <a:schemeClr val="accent3"/>
              </a:buClr>
              <a:defRPr sz="1200"/>
            </a:lvl1pPr>
            <a:lvl2pPr marL="359991" indent="-182395">
              <a:lnSpc>
                <a:spcPct val="100000"/>
              </a:lnSpc>
              <a:buClr>
                <a:schemeClr val="accent3"/>
              </a:buClr>
              <a:defRPr sz="1200"/>
            </a:lvl2pPr>
            <a:lvl3pPr marL="479988" indent="-182395" algn="l">
              <a:lnSpc>
                <a:spcPct val="100000"/>
              </a:lnSpc>
              <a:buClr>
                <a:schemeClr val="accent3"/>
              </a:buClr>
              <a:defRPr sz="1200"/>
            </a:lvl3pPr>
            <a:lvl4pPr marL="681583" indent="-182395">
              <a:lnSpc>
                <a:spcPct val="100000"/>
              </a:lnSpc>
              <a:buClr>
                <a:schemeClr val="accent3"/>
              </a:buClr>
              <a:defRPr sz="1200"/>
            </a:lvl4pPr>
            <a:lvl5pPr marL="873578" indent="-182395">
              <a:lnSpc>
                <a:spcPct val="100000"/>
              </a:lnSpc>
              <a:buClr>
                <a:schemeClr val="accent3"/>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3437522" y="1567520"/>
            <a:ext cx="2522065" cy="802640"/>
          </a:xfrm>
          <a:prstGeom prst="rect">
            <a:avLst/>
          </a:prstGeom>
          <a:solidFill>
            <a:schemeClr val="accent5"/>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6267262" y="1567520"/>
            <a:ext cx="2522065" cy="802640"/>
          </a:xfrm>
          <a:prstGeom prst="rect">
            <a:avLst/>
          </a:prstGeom>
          <a:solidFill>
            <a:schemeClr val="accent2"/>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9065016" y="1567520"/>
            <a:ext cx="2522065" cy="802640"/>
          </a:xfrm>
          <a:prstGeom prst="rect">
            <a:avLst/>
          </a:prstGeom>
          <a:solidFill>
            <a:schemeClr val="accent4"/>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5" name="Title Placeholder 1">
            <a:extLst>
              <a:ext uri="{FF2B5EF4-FFF2-40B4-BE49-F238E27FC236}">
                <a16:creationId xmlns:a16="http://schemas.microsoft.com/office/drawing/2014/main" id="{E683AED9-F7C6-85EA-D98A-A617F3F2CE98}"/>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37918905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588970" y="1515565"/>
            <a:ext cx="10995801" cy="347313"/>
          </a:xfrm>
          <a:prstGeom prst="rect">
            <a:avLst/>
          </a:prstGeom>
        </p:spPr>
        <p:txBody>
          <a:bodyPr lIns="0" tIns="0" rIns="0" bIns="0">
            <a:normAutofit/>
          </a:bodyPr>
          <a:lstStyle>
            <a:lvl1pPr marL="0" indent="0">
              <a:buFontTx/>
              <a:buNone/>
              <a:defRPr sz="1867" b="1" i="0"/>
            </a:lvl1pPr>
          </a:lstStyle>
          <a:p>
            <a:pPr lvl="0"/>
            <a:r>
              <a:rPr lang="en-GB" noProof="0"/>
              <a:t>Name</a:t>
            </a:r>
          </a:p>
        </p:txBody>
      </p:sp>
      <p:sp>
        <p:nvSpPr>
          <p:cNvPr id="21" name="Text Placeholder 2"/>
          <p:cNvSpPr>
            <a:spLocks noGrp="1"/>
          </p:cNvSpPr>
          <p:nvPr>
            <p:ph idx="13" hasCustomPrompt="1"/>
          </p:nvPr>
        </p:nvSpPr>
        <p:spPr bwMode="auto">
          <a:xfrm>
            <a:off x="588970" y="1943739"/>
            <a:ext cx="10986549" cy="3693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a:lvl1pPr>
            <a:lvl2pPr marL="362991" indent="0">
              <a:buNone/>
              <a:defRPr/>
            </a:lvl2pPr>
            <a:lvl3pPr marL="718182" indent="0">
              <a:buNone/>
              <a:defRPr/>
            </a:lvl3pPr>
            <a:lvl4pPr marL="1096802" indent="0">
              <a:buNone/>
              <a:defRPr/>
            </a:lvl4pPr>
            <a:lvl5pPr marL="1384795" indent="0">
              <a:buNone/>
              <a:defRPr/>
            </a:lvl5pPr>
          </a:lstStyle>
          <a:p>
            <a:r>
              <a:rPr lang="en-GB" noProof="0"/>
              <a:t>Title</a:t>
            </a:r>
          </a:p>
        </p:txBody>
      </p:sp>
      <p:sp>
        <p:nvSpPr>
          <p:cNvPr id="22" name="Text Placeholder 2"/>
          <p:cNvSpPr>
            <a:spLocks noGrp="1"/>
          </p:cNvSpPr>
          <p:nvPr>
            <p:ph idx="16" hasCustomPrompt="1"/>
          </p:nvPr>
        </p:nvSpPr>
        <p:spPr bwMode="auto">
          <a:xfrm>
            <a:off x="993052" y="3887049"/>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23" name="Text Placeholder 2"/>
          <p:cNvSpPr>
            <a:spLocks noGrp="1"/>
          </p:cNvSpPr>
          <p:nvPr>
            <p:ph idx="17" hasCustomPrompt="1"/>
          </p:nvPr>
        </p:nvSpPr>
        <p:spPr bwMode="auto">
          <a:xfrm>
            <a:off x="588970" y="5413418"/>
            <a:ext cx="10986549" cy="38487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b="1" i="0">
                <a:solidFill>
                  <a:schemeClr val="accent1"/>
                </a:solidFill>
              </a:defRPr>
            </a:lvl1pPr>
            <a:lvl2pPr marL="362991" indent="0">
              <a:buNone/>
              <a:defRPr/>
            </a:lvl2pPr>
            <a:lvl3pPr marL="718182" indent="0">
              <a:buNone/>
              <a:defRPr/>
            </a:lvl3pPr>
            <a:lvl4pPr marL="1096802" indent="0">
              <a:buNone/>
              <a:defRPr/>
            </a:lvl4pPr>
            <a:lvl5pPr marL="1384795" indent="0">
              <a:buNone/>
              <a:defRPr/>
            </a:lvl5pPr>
          </a:lstStyle>
          <a:p>
            <a:pPr lvl="0"/>
            <a:r>
              <a:rPr lang="en-GB" noProof="0"/>
              <a:t>www.gs1.org</a:t>
            </a:r>
          </a:p>
        </p:txBody>
      </p:sp>
      <p:sp>
        <p:nvSpPr>
          <p:cNvPr id="24" name="Text Placeholder 2"/>
          <p:cNvSpPr>
            <a:spLocks noGrp="1"/>
          </p:cNvSpPr>
          <p:nvPr>
            <p:ph idx="19" hasCustomPrompt="1"/>
          </p:nvPr>
        </p:nvSpPr>
        <p:spPr bwMode="auto">
          <a:xfrm>
            <a:off x="993052" y="4895059"/>
            <a:ext cx="10582467" cy="3368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name@gs1.org</a:t>
            </a:r>
          </a:p>
        </p:txBody>
      </p:sp>
      <p:sp>
        <p:nvSpPr>
          <p:cNvPr id="27" name="Text Placeholder 2"/>
          <p:cNvSpPr>
            <a:spLocks noGrp="1"/>
          </p:cNvSpPr>
          <p:nvPr>
            <p:ph idx="22" hasCustomPrompt="1"/>
          </p:nvPr>
        </p:nvSpPr>
        <p:spPr bwMode="auto">
          <a:xfrm>
            <a:off x="588970" y="2374946"/>
            <a:ext cx="10986549" cy="13908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b="0" baseline="0"/>
            </a:lvl1pPr>
            <a:lvl2pPr marL="362991" indent="0">
              <a:buNone/>
              <a:defRPr/>
            </a:lvl2pPr>
            <a:lvl3pPr marL="718182" indent="0">
              <a:buNone/>
              <a:defRPr/>
            </a:lvl3pPr>
            <a:lvl4pPr marL="1096802" indent="0">
              <a:buNone/>
              <a:defRPr/>
            </a:lvl4pPr>
            <a:lvl5pPr marL="1384795" indent="0">
              <a:buNone/>
              <a:defRPr/>
            </a:lvl5pPr>
          </a:lstStyle>
          <a:p>
            <a:pPr lvl="0"/>
            <a:r>
              <a:rPr lang="en-GB" noProof="0"/>
              <a:t>GS1 Address</a:t>
            </a:r>
          </a:p>
        </p:txBody>
      </p:sp>
      <p:sp>
        <p:nvSpPr>
          <p:cNvPr id="32" name="Text Placeholder 2"/>
          <p:cNvSpPr>
            <a:spLocks noGrp="1"/>
          </p:cNvSpPr>
          <p:nvPr>
            <p:ph idx="27" hasCustomPrompt="1"/>
          </p:nvPr>
        </p:nvSpPr>
        <p:spPr bwMode="auto">
          <a:xfrm>
            <a:off x="993052" y="4222784"/>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33" name="Text Placeholder 2"/>
          <p:cNvSpPr>
            <a:spLocks noGrp="1"/>
          </p:cNvSpPr>
          <p:nvPr>
            <p:ph idx="28" hasCustomPrompt="1"/>
          </p:nvPr>
        </p:nvSpPr>
        <p:spPr bwMode="auto">
          <a:xfrm>
            <a:off x="993052" y="4558518"/>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592195" y="3889056"/>
            <a:ext cx="388627" cy="354563"/>
          </a:xfrm>
          <a:prstGeom prst="rect">
            <a:avLst/>
          </a:prstGeom>
        </p:spPr>
        <p:txBody>
          <a:bodyPr vert="horz" lIns="0" tIns="0" rIns="0" bIns="0"/>
          <a:lstStyle>
            <a:lvl1pPr marL="98998" indent="0" algn="l">
              <a:buNone/>
              <a:defRPr sz="1600" b="1" i="0"/>
            </a:lvl1pPr>
          </a:lstStyle>
          <a:p>
            <a:pPr lvl="0"/>
            <a:r>
              <a:rPr lang="en-GB" noProof="0"/>
              <a:t>T</a:t>
            </a:r>
          </a:p>
        </p:txBody>
      </p:sp>
      <p:sp>
        <p:nvSpPr>
          <p:cNvPr id="42" name="Text Placeholder 40"/>
          <p:cNvSpPr>
            <a:spLocks noGrp="1"/>
          </p:cNvSpPr>
          <p:nvPr>
            <p:ph type="body" sz="quarter" idx="34" hasCustomPrompt="1"/>
          </p:nvPr>
        </p:nvSpPr>
        <p:spPr>
          <a:xfrm>
            <a:off x="592195" y="4221377"/>
            <a:ext cx="388627" cy="354563"/>
          </a:xfrm>
          <a:prstGeom prst="rect">
            <a:avLst/>
          </a:prstGeom>
        </p:spPr>
        <p:txBody>
          <a:bodyPr vert="horz" lIns="0" tIns="0" rIns="0" bIns="0"/>
          <a:lstStyle>
            <a:lvl1pPr marL="98998" indent="0" algn="l">
              <a:buNone/>
              <a:defRPr sz="1600" b="1" i="0"/>
            </a:lvl1pPr>
          </a:lstStyle>
          <a:p>
            <a:pPr lvl="0"/>
            <a:r>
              <a:rPr lang="en-GB" noProof="0"/>
              <a:t>D</a:t>
            </a:r>
          </a:p>
        </p:txBody>
      </p:sp>
      <p:sp>
        <p:nvSpPr>
          <p:cNvPr id="43" name="Text Placeholder 40"/>
          <p:cNvSpPr>
            <a:spLocks noGrp="1"/>
          </p:cNvSpPr>
          <p:nvPr>
            <p:ph type="body" sz="quarter" idx="35" hasCustomPrompt="1"/>
          </p:nvPr>
        </p:nvSpPr>
        <p:spPr>
          <a:xfrm>
            <a:off x="592195" y="4557932"/>
            <a:ext cx="388627" cy="354563"/>
          </a:xfrm>
          <a:prstGeom prst="rect">
            <a:avLst/>
          </a:prstGeom>
        </p:spPr>
        <p:txBody>
          <a:bodyPr vert="horz" lIns="0" tIns="0" rIns="0" bIns="0"/>
          <a:lstStyle>
            <a:lvl1pPr marL="98998" indent="0" algn="l">
              <a:buNone/>
              <a:defRPr sz="1600" b="1" i="0"/>
            </a:lvl1pPr>
          </a:lstStyle>
          <a:p>
            <a:pPr lvl="0"/>
            <a:r>
              <a:rPr lang="en-GB" noProof="0"/>
              <a:t>M</a:t>
            </a:r>
          </a:p>
        </p:txBody>
      </p:sp>
      <p:sp>
        <p:nvSpPr>
          <p:cNvPr id="44" name="Text Placeholder 40"/>
          <p:cNvSpPr>
            <a:spLocks noGrp="1"/>
          </p:cNvSpPr>
          <p:nvPr>
            <p:ph type="body" sz="quarter" idx="36" hasCustomPrompt="1"/>
          </p:nvPr>
        </p:nvSpPr>
        <p:spPr>
          <a:xfrm>
            <a:off x="592195" y="4894839"/>
            <a:ext cx="388627" cy="354563"/>
          </a:xfrm>
          <a:prstGeom prst="rect">
            <a:avLst/>
          </a:prstGeom>
        </p:spPr>
        <p:txBody>
          <a:bodyPr vert="horz" lIns="0" tIns="0" rIns="0" bIns="0"/>
          <a:lstStyle>
            <a:lvl1pPr marL="98998" indent="0" algn="l">
              <a:buNone/>
              <a:defRPr sz="1600" b="1" i="0"/>
            </a:lvl1pPr>
          </a:lstStyle>
          <a:p>
            <a:pPr lvl="0"/>
            <a:r>
              <a:rPr lang="en-GB" noProof="0"/>
              <a:t>E</a:t>
            </a:r>
          </a:p>
        </p:txBody>
      </p:sp>
      <p:sp>
        <p:nvSpPr>
          <p:cNvPr id="2" name="Title Placeholder 1">
            <a:extLst>
              <a:ext uri="{FF2B5EF4-FFF2-40B4-BE49-F238E27FC236}">
                <a16:creationId xmlns:a16="http://schemas.microsoft.com/office/drawing/2014/main" id="{6D025EEC-96AF-FCC6-923E-D1978B0F1DFD}"/>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7337998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2B5447-D7C3-8578-C852-9E94363C616C}"/>
              </a:ext>
            </a:extLst>
          </p:cNvPr>
          <p:cNvGraphicFramePr>
            <a:graphicFrameLocks noChangeAspect="1"/>
          </p:cNvGraphicFramePr>
          <p:nvPr userDrawn="1">
            <p:custDataLst>
              <p:tags r:id="rId1"/>
            </p:custDataLst>
            <p:extLst>
              <p:ext uri="{D42A27DB-BD31-4B8C-83A1-F6EECF244321}">
                <p14:modId xmlns:p14="http://schemas.microsoft.com/office/powerpoint/2010/main" val="139567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5" progId="TCLayout.ActiveDocument.1">
                  <p:embed/>
                </p:oleObj>
              </mc:Choice>
              <mc:Fallback>
                <p:oleObj name="think-cell Slide" r:id="rId3" imgW="606" imgH="605" progId="TCLayout.ActiveDocument.1">
                  <p:embed/>
                  <p:pic>
                    <p:nvPicPr>
                      <p:cNvPr id="5" name="think-cell data - do not delete" hidden="1">
                        <a:extLst>
                          <a:ext uri="{FF2B5EF4-FFF2-40B4-BE49-F238E27FC236}">
                            <a16:creationId xmlns:a16="http://schemas.microsoft.com/office/drawing/2014/main" id="{AC2B5447-D7C3-8578-C852-9E94363C61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2"/>
          <p:cNvSpPr>
            <a:spLocks noGrp="1"/>
          </p:cNvSpPr>
          <p:nvPr>
            <p:ph idx="11" hasCustomPrompt="1"/>
          </p:nvPr>
        </p:nvSpPr>
        <p:spPr bwMode="auto">
          <a:xfrm>
            <a:off x="596961" y="1455212"/>
            <a:ext cx="10988943" cy="441611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3" name="Title Placeholder 1">
            <a:extLst>
              <a:ext uri="{FF2B5EF4-FFF2-40B4-BE49-F238E27FC236}">
                <a16:creationId xmlns:a16="http://schemas.microsoft.com/office/drawing/2014/main" id="{AF26BE69-88EE-8427-B11E-269109F3FA2F}"/>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2400"/>
            </a:lvl1pPr>
          </a:lstStyle>
          <a:p>
            <a:pPr lvl="0"/>
            <a:r>
              <a:rPr lang="en-GB" noProof="0"/>
              <a:t>Title goes here and can be two lines</a:t>
            </a:r>
          </a:p>
        </p:txBody>
      </p:sp>
    </p:spTree>
    <p:extLst>
      <p:ext uri="{BB962C8B-B14F-4D97-AF65-F5344CB8AC3E}">
        <p14:creationId xmlns:p14="http://schemas.microsoft.com/office/powerpoint/2010/main" val="9331208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_Header Orang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AFC5ED-962C-2977-0683-D3AD53B015B1}"/>
              </a:ext>
            </a:extLst>
          </p:cNvPr>
          <p:cNvGraphicFramePr>
            <a:graphicFrameLocks noChangeAspect="1"/>
          </p:cNvGraphicFramePr>
          <p:nvPr userDrawn="1">
            <p:custDataLst>
              <p:tags r:id="rId1"/>
            </p:custDataLst>
            <p:extLst>
              <p:ext uri="{D42A27DB-BD31-4B8C-83A1-F6EECF244321}">
                <p14:modId xmlns:p14="http://schemas.microsoft.com/office/powerpoint/2010/main" val="296655838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think-cell data - do not delete" hidden="1">
                        <a:extLst>
                          <a:ext uri="{FF2B5EF4-FFF2-40B4-BE49-F238E27FC236}">
                            <a16:creationId xmlns:a16="http://schemas.microsoft.com/office/drawing/2014/main" id="{AEAFC5ED-962C-2977-0683-D3AD53B015B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defTabSz="1219020" fontAlgn="base">
              <a:spcAft>
                <a:spcPct val="0"/>
              </a:spcAft>
              <a:defRPr/>
            </a:pPr>
            <a:fld id="{4472AB7F-E8D0-4874-A9B8-335B68DC5F05}" type="slidenum">
              <a:rPr lang="en-GB" smtClean="0"/>
              <a:pPr defTabSz="1219020" fontAlgn="base">
                <a:spcAft>
                  <a:spcPct val="0"/>
                </a:spcAft>
                <a:defRPr/>
              </a:pPr>
              <a:t>‹#›</a:t>
            </a:fld>
            <a:endParaRPr lang="en-GB"/>
          </a:p>
        </p:txBody>
      </p:sp>
      <p:sp>
        <p:nvSpPr>
          <p:cNvPr id="5" name="Rectangle 4"/>
          <p:cNvSpPr/>
          <p:nvPr/>
        </p:nvSpPr>
        <p:spPr>
          <a:xfrm>
            <a:off x="0" y="0"/>
            <a:ext cx="12192000" cy="6055056"/>
          </a:xfrm>
          <a:prstGeom prst="rect">
            <a:avLst/>
          </a:prstGeom>
          <a:solidFill>
            <a:schemeClr val="tx2"/>
          </a:solidFill>
          <a:ln w="25400">
            <a:noFill/>
          </a:ln>
          <a:effectLst/>
        </p:spPr>
        <p:style>
          <a:lnRef idx="1">
            <a:schemeClr val="accent1"/>
          </a:lnRef>
          <a:fillRef idx="3">
            <a:schemeClr val="accent1"/>
          </a:fillRef>
          <a:effectRef idx="2">
            <a:schemeClr val="accent1"/>
          </a:effectRef>
          <a:fontRef idx="minor">
            <a:schemeClr val="lt1"/>
          </a:fontRef>
        </p:style>
        <p:txBody>
          <a:bodyPr rtlCol="0" anchor="t"/>
          <a:lstStyle/>
          <a:p>
            <a:pPr marR="0" lvl="0" indent="0" algn="ctr" rtl="0" fontAlgn="auto">
              <a:lnSpc>
                <a:spcPct val="100000"/>
              </a:lnSpc>
              <a:spcBef>
                <a:spcPts val="0"/>
              </a:spcBef>
              <a:spcAft>
                <a:spcPts val="300"/>
              </a:spcAft>
              <a:buClrTx/>
              <a:buSzTx/>
              <a:buFontTx/>
              <a:buNone/>
              <a:tabLst/>
            </a:pPr>
            <a:endParaRPr kumimoji="0" lang="en-GB" sz="1400" b="1" i="0" u="none" strike="noStrike" cap="none" spc="0" normalizeH="0" baseline="0" noProof="0">
              <a:ln>
                <a:noFill/>
              </a:ln>
              <a:solidFill>
                <a:prstClr val="white"/>
              </a:solidFill>
              <a:effectLst/>
              <a:uLnTx/>
              <a:uFillTx/>
              <a:latin typeface="Verdana"/>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6" indent="0" rtl="0">
              <a:lnSpc>
                <a:spcPct val="100000"/>
              </a:lnSpc>
              <a:buNone/>
              <a:defRPr sz="4000" b="1">
                <a:solidFill>
                  <a:schemeClr val="bg1"/>
                </a:solidFill>
              </a:defRPr>
            </a:lvl1pPr>
            <a:lvl2pPr marL="362982" indent="0">
              <a:buNone/>
              <a:defRPr>
                <a:solidFill>
                  <a:schemeClr val="bg1"/>
                </a:solidFill>
              </a:defRPr>
            </a:lvl2pPr>
            <a:lvl3pPr marL="718165" indent="0">
              <a:buNone/>
              <a:defRPr>
                <a:solidFill>
                  <a:schemeClr val="bg1"/>
                </a:solidFill>
              </a:defRPr>
            </a:lvl3pPr>
            <a:lvl4pPr marL="1096775" indent="0">
              <a:buNone/>
              <a:defRPr>
                <a:solidFill>
                  <a:schemeClr val="bg1"/>
                </a:solidFill>
              </a:defRPr>
            </a:lvl4pPr>
            <a:lvl5pPr marL="1384760" indent="0">
              <a:buNone/>
              <a:defRPr>
                <a:solidFill>
                  <a:schemeClr val="bg1"/>
                </a:solidFill>
              </a:defRPr>
            </a:lvl5pPr>
          </a:lstStyle>
          <a:p>
            <a:pPr lvl="0"/>
            <a:r>
              <a:rPr lang="en-GB" noProof="0"/>
              <a:t>Click to edit header</a:t>
            </a:r>
          </a:p>
        </p:txBody>
      </p:sp>
    </p:spTree>
    <p:extLst>
      <p:ext uri="{BB962C8B-B14F-4D97-AF65-F5344CB8AC3E}">
        <p14:creationId xmlns:p14="http://schemas.microsoft.com/office/powerpoint/2010/main" val="19152140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Blu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5" name="Title Placeholder 1">
            <a:extLst>
              <a:ext uri="{FF2B5EF4-FFF2-40B4-BE49-F238E27FC236}">
                <a16:creationId xmlns:a16="http://schemas.microsoft.com/office/drawing/2014/main" id="{0B4F1D30-58C0-2439-3C9F-B9620FD59320}"/>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20739837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BF8AB1-F8DE-78DA-544A-21F4DE6000E3}"/>
              </a:ext>
            </a:extLst>
          </p:cNvPr>
          <p:cNvGraphicFramePr>
            <a:graphicFrameLocks noChangeAspect="1"/>
          </p:cNvGraphicFramePr>
          <p:nvPr userDrawn="1">
            <p:custDataLst>
              <p:tags r:id="rId1"/>
            </p:custDataLst>
            <p:extLst>
              <p:ext uri="{D42A27DB-BD31-4B8C-83A1-F6EECF244321}">
                <p14:modId xmlns:p14="http://schemas.microsoft.com/office/powerpoint/2010/main" val="155694046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think-cell data - do not delete" hidden="1">
                        <a:extLst>
                          <a:ext uri="{FF2B5EF4-FFF2-40B4-BE49-F238E27FC236}">
                            <a16:creationId xmlns:a16="http://schemas.microsoft.com/office/drawing/2014/main" id="{FFBF8AB1-F8DE-78DA-544A-21F4DE6000E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2400">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3" name="Rectangle 2">
            <a:extLst>
              <a:ext uri="{FF2B5EF4-FFF2-40B4-BE49-F238E27FC236}">
                <a16:creationId xmlns:a16="http://schemas.microsoft.com/office/drawing/2014/main" id="{6C9F29DD-EAEB-A5E7-C34F-187811F7E121}"/>
              </a:ext>
            </a:extLst>
          </p:cNvPr>
          <p:cNvSpPr/>
          <p:nvPr userDrawn="1"/>
        </p:nvSpPr>
        <p:spPr>
          <a:xfrm>
            <a:off x="0" y="4048125"/>
            <a:ext cx="12192000" cy="280987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spcAft>
                <a:spcPts val="300"/>
              </a:spcAft>
            </a:pPr>
            <a:endParaRPr lang="en-GB" sz="700" b="1">
              <a:solidFill>
                <a:schemeClr val="tx1"/>
              </a:solidFill>
            </a:endParaRPr>
          </a:p>
        </p:txBody>
      </p:sp>
    </p:spTree>
    <p:extLst>
      <p:ext uri="{BB962C8B-B14F-4D97-AF65-F5344CB8AC3E}">
        <p14:creationId xmlns:p14="http://schemas.microsoft.com/office/powerpoint/2010/main" val="36872109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1"/>
            <a:ext cx="10995323" cy="1161163"/>
          </a:xfrm>
          <a:prstGeom prst="rect">
            <a:avLst/>
          </a:prstGeom>
        </p:spPr>
        <p:txBody>
          <a:bodyPr lIns="0" tIns="0" rIns="0" bIns="0">
            <a:noAutofit/>
          </a:bodyPr>
          <a:lstStyle>
            <a:lvl1pPr marL="0" marR="0" indent="0" algn="l" defTabSz="609510"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marL="0" marR="0" lvl="0" indent="0" algn="l" defTabSz="609510"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s three lines or fewer may go in this text box. For text over three lines, adjust the size of this box.</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2" y="2743203"/>
            <a:ext cx="10988943" cy="3128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tle Placeholder 1">
            <a:extLst>
              <a:ext uri="{FF2B5EF4-FFF2-40B4-BE49-F238E27FC236}">
                <a16:creationId xmlns:a16="http://schemas.microsoft.com/office/drawing/2014/main" id="{3818827E-53E2-F6FA-6E3A-19226DB38BEA}"/>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7534858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Photo Left - with Caption">
    <p:spTree>
      <p:nvGrpSpPr>
        <p:cNvPr id="1" name=""/>
        <p:cNvGrpSpPr/>
        <p:nvPr/>
      </p:nvGrpSpPr>
      <p:grpSpPr>
        <a:xfrm>
          <a:off x="0" y="0"/>
          <a:ext cx="0" cy="0"/>
          <a:chOff x="0" y="0"/>
          <a:chExt cx="0" cy="0"/>
        </a:xfrm>
      </p:grpSpPr>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Picture Placeholder 4"/>
          <p:cNvSpPr>
            <a:spLocks noGrp="1"/>
          </p:cNvSpPr>
          <p:nvPr>
            <p:ph type="pic" sz="quarter" idx="14" hasCustomPrompt="1"/>
          </p:nvPr>
        </p:nvSpPr>
        <p:spPr>
          <a:xfrm>
            <a:off x="596900" y="1641601"/>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Rectangle 3"/>
          <p:cNvSpPr/>
          <p:nvPr userDrawn="1"/>
        </p:nvSpPr>
        <p:spPr>
          <a:xfrm>
            <a:off x="596902"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algn="l">
              <a:lnSpc>
                <a:spcPct val="110000"/>
              </a:lnSpc>
            </a:pPr>
            <a:endParaRPr lang="en-GB" sz="1200" b="0" i="1" noProof="0">
              <a:solidFill>
                <a:schemeClr val="bg1"/>
              </a:solidFill>
            </a:endParaRPr>
          </a:p>
        </p:txBody>
      </p:sp>
      <p:sp>
        <p:nvSpPr>
          <p:cNvPr id="13"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6" marR="0" indent="0" algn="l" defTabSz="609510"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6" marR="0" lvl="0" indent="0" algn="l" defTabSz="609510"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a:solidFill>
                  <a:schemeClr val="bg1"/>
                </a:solidFill>
              </a:rPr>
              <a:t>Caption or</a:t>
            </a:r>
            <a:r>
              <a:rPr lang="en-GB" sz="1467" b="0" i="1" baseline="0" noProof="0">
                <a:solidFill>
                  <a:schemeClr val="bg1"/>
                </a:solidFill>
              </a:rPr>
              <a:t> credit for a photo could be put in this space. </a:t>
            </a:r>
            <a:r>
              <a:rPr lang="en-GB" sz="1467" b="0" i="1" noProof="0">
                <a:solidFill>
                  <a:schemeClr val="bg1"/>
                </a:solidFill>
              </a:rPr>
              <a:t>You may adjust the height of this box</a:t>
            </a:r>
            <a:r>
              <a:rPr lang="en-GB" sz="1467" b="0" i="1" baseline="0" noProof="0">
                <a:solidFill>
                  <a:schemeClr val="bg1"/>
                </a:solidFill>
              </a:rPr>
              <a:t> to accommodate more or less text. Suggested number of lines of text is no less than two and no more than four.</a:t>
            </a:r>
            <a:endParaRPr lang="en-GB" sz="1467" b="0" i="1" noProof="0">
              <a:solidFill>
                <a:schemeClr val="bg1"/>
              </a:solidFill>
            </a:endParaRPr>
          </a:p>
        </p:txBody>
      </p:sp>
      <p:sp>
        <p:nvSpPr>
          <p:cNvPr id="3" name="Title Placeholder 1">
            <a:extLst>
              <a:ext uri="{FF2B5EF4-FFF2-40B4-BE49-F238E27FC236}">
                <a16:creationId xmlns:a16="http://schemas.microsoft.com/office/drawing/2014/main" id="{3FAD04EC-FFA1-F65D-4AE7-87DAAE63E8C0}"/>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7" name="Text Placeholder 12">
            <a:extLst>
              <a:ext uri="{FF2B5EF4-FFF2-40B4-BE49-F238E27FC236}">
                <a16:creationId xmlns:a16="http://schemas.microsoft.com/office/drawing/2014/main" id="{8345CDC8-4D32-194E-D61E-861B1DD1D49F}"/>
              </a:ext>
            </a:extLst>
          </p:cNvPr>
          <p:cNvSpPr>
            <a:spLocks noGrp="1"/>
          </p:cNvSpPr>
          <p:nvPr>
            <p:ph type="body" sz="quarter" idx="20" hasCustomPrompt="1"/>
          </p:nvPr>
        </p:nvSpPr>
        <p:spPr>
          <a:xfrm>
            <a:off x="6168484" y="2419235"/>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5">
            <a:extLst>
              <a:ext uri="{FF2B5EF4-FFF2-40B4-BE49-F238E27FC236}">
                <a16:creationId xmlns:a16="http://schemas.microsoft.com/office/drawing/2014/main" id="{FA13186E-3A14-1188-0195-D96B726EC48D}"/>
              </a:ext>
            </a:extLst>
          </p:cNvPr>
          <p:cNvSpPr>
            <a:spLocks noGrp="1"/>
          </p:cNvSpPr>
          <p:nvPr>
            <p:ph type="body" sz="quarter" idx="19" hasCustomPrompt="1"/>
          </p:nvPr>
        </p:nvSpPr>
        <p:spPr>
          <a:xfrm>
            <a:off x="6166681" y="1643071"/>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10869478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Photo Right - with Caption">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3" name="Picture Placeholder 4"/>
          <p:cNvSpPr>
            <a:spLocks noGrp="1"/>
          </p:cNvSpPr>
          <p:nvPr>
            <p:ph type="pic" sz="quarter" idx="14" hasCustomPrompt="1"/>
          </p:nvPr>
        </p:nvSpPr>
        <p:spPr>
          <a:xfrm>
            <a:off x="6394077" y="1641601"/>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24" name="Rectangle 23"/>
          <p:cNvSpPr/>
          <p:nvPr userDrawn="1"/>
        </p:nvSpPr>
        <p:spPr>
          <a:xfrm>
            <a:off x="6394078"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algn="l">
              <a:lnSpc>
                <a:spcPct val="110000"/>
              </a:lnSpc>
            </a:pPr>
            <a:endParaRPr lang="en-GB" sz="1200" b="0" i="1" noProof="0">
              <a:solidFill>
                <a:schemeClr val="bg1"/>
              </a:solidFill>
            </a:endParaRPr>
          </a:p>
        </p:txBody>
      </p:sp>
      <p:sp>
        <p:nvSpPr>
          <p:cNvPr id="9" name="Text Placeholder 6"/>
          <p:cNvSpPr>
            <a:spLocks noGrp="1"/>
          </p:cNvSpPr>
          <p:nvPr>
            <p:ph type="body" sz="quarter" idx="22" hasCustomPrompt="1"/>
          </p:nvPr>
        </p:nvSpPr>
        <p:spPr>
          <a:xfrm>
            <a:off x="6502400" y="4773681"/>
            <a:ext cx="4978400" cy="812800"/>
          </a:xfrm>
          <a:prstGeom prst="rect">
            <a:avLst/>
          </a:prstGeom>
        </p:spPr>
        <p:txBody>
          <a:bodyPr vert="horz" lIns="0" tIns="0" rIns="0" bIns="0"/>
          <a:lstStyle>
            <a:lvl1pPr marL="98996" marR="0" indent="0" algn="l" defTabSz="609510"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6" marR="0" lvl="0" indent="0" algn="l" defTabSz="609510"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a:solidFill>
                  <a:schemeClr val="bg1"/>
                </a:solidFill>
              </a:rPr>
              <a:t>Caption or</a:t>
            </a:r>
            <a:r>
              <a:rPr lang="en-GB" sz="1467" b="0" i="1" baseline="0" noProof="0">
                <a:solidFill>
                  <a:schemeClr val="bg1"/>
                </a:solidFill>
              </a:rPr>
              <a:t> credit for a photo could be put in this space. </a:t>
            </a:r>
            <a:r>
              <a:rPr lang="en-GB" sz="1467" b="0" i="1" noProof="0">
                <a:solidFill>
                  <a:schemeClr val="bg1"/>
                </a:solidFill>
              </a:rPr>
              <a:t>You may adjust the height of this box</a:t>
            </a:r>
            <a:r>
              <a:rPr lang="en-GB" sz="1467" b="0" i="1" baseline="0" noProof="0">
                <a:solidFill>
                  <a:schemeClr val="bg1"/>
                </a:solidFill>
              </a:rPr>
              <a:t> to accommodate more or less text. Suggested number of lines of text is no less than two and no more than four.</a:t>
            </a:r>
            <a:endParaRPr lang="en-GB" sz="1467" b="0" i="1" noProof="0">
              <a:solidFill>
                <a:schemeClr val="bg1"/>
              </a:solidFill>
            </a:endParaRPr>
          </a:p>
        </p:txBody>
      </p:sp>
      <p:sp>
        <p:nvSpPr>
          <p:cNvPr id="3" name="Title Placeholder 1">
            <a:extLst>
              <a:ext uri="{FF2B5EF4-FFF2-40B4-BE49-F238E27FC236}">
                <a16:creationId xmlns:a16="http://schemas.microsoft.com/office/drawing/2014/main" id="{CA3ED416-1639-D0A9-3AF4-320D1CD1A757}"/>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6" name="Text Placeholder 12">
            <a:extLst>
              <a:ext uri="{FF2B5EF4-FFF2-40B4-BE49-F238E27FC236}">
                <a16:creationId xmlns:a16="http://schemas.microsoft.com/office/drawing/2014/main" id="{EEAEE1BA-23C2-918F-B8ED-869D63EA0223}"/>
              </a:ext>
            </a:extLst>
          </p:cNvPr>
          <p:cNvSpPr>
            <a:spLocks noGrp="1"/>
          </p:cNvSpPr>
          <p:nvPr>
            <p:ph type="body" sz="quarter" idx="20" hasCustomPrompt="1"/>
          </p:nvPr>
        </p:nvSpPr>
        <p:spPr>
          <a:xfrm>
            <a:off x="598444" y="2419235"/>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5">
            <a:extLst>
              <a:ext uri="{FF2B5EF4-FFF2-40B4-BE49-F238E27FC236}">
                <a16:creationId xmlns:a16="http://schemas.microsoft.com/office/drawing/2014/main" id="{39DAD6E9-9ECB-849B-340D-03F88DD10A43}"/>
              </a:ext>
            </a:extLst>
          </p:cNvPr>
          <p:cNvSpPr>
            <a:spLocks noGrp="1"/>
          </p:cNvSpPr>
          <p:nvPr>
            <p:ph type="body" sz="quarter" idx="19" hasCustomPrompt="1"/>
          </p:nvPr>
        </p:nvSpPr>
        <p:spPr>
          <a:xfrm>
            <a:off x="596640" y="1643071"/>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27832061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99243" y="1567520"/>
            <a:ext cx="5265589" cy="802640"/>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9" name="Text Placeholder 12"/>
          <p:cNvSpPr>
            <a:spLocks noGrp="1"/>
          </p:cNvSpPr>
          <p:nvPr>
            <p:ph type="body" sz="quarter" idx="11" hasCustomPrompt="1"/>
          </p:nvPr>
        </p:nvSpPr>
        <p:spPr>
          <a:xfrm>
            <a:off x="594965" y="2471040"/>
            <a:ext cx="5276896" cy="1918080"/>
          </a:xfrm>
          <a:prstGeom prst="rect">
            <a:avLst/>
          </a:prstGeom>
        </p:spPr>
        <p:txBody>
          <a:bodyPr lIns="0" tIns="0" rIns="0" bIns="0">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596981" y="4568537"/>
            <a:ext cx="10995323" cy="1282231"/>
          </a:xfrm>
          <a:prstGeom prst="rect">
            <a:avLst/>
          </a:prstGeom>
        </p:spPr>
        <p:txBody>
          <a:bodyPr lIns="0" tIns="0" rIns="0" bIns="0">
            <a:noAutofit/>
          </a:bodyPr>
          <a:lstStyle>
            <a:lvl1pPr marL="0" marR="0" indent="0" algn="l" defTabSz="609510"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6316508" y="1567520"/>
            <a:ext cx="5265589" cy="802640"/>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6312232" y="2471040"/>
            <a:ext cx="5276896" cy="1918080"/>
          </a:xfrm>
          <a:prstGeom prst="rect">
            <a:avLst/>
          </a:prstGeom>
        </p:spPr>
        <p:txBody>
          <a:bodyPr lIns="0" tIns="0" rIns="0" bIns="0">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itle Placeholder 1">
            <a:extLst>
              <a:ext uri="{FF2B5EF4-FFF2-40B4-BE49-F238E27FC236}">
                <a16:creationId xmlns:a16="http://schemas.microsoft.com/office/drawing/2014/main" id="{36E0FFB2-448F-BBE3-5C8D-9B681EE9CF89}"/>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9691632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low Chart">
    <p:spTree>
      <p:nvGrpSpPr>
        <p:cNvPr id="1" name=""/>
        <p:cNvGrpSpPr/>
        <p:nvPr/>
      </p:nvGrpSpPr>
      <p:grpSpPr>
        <a:xfrm>
          <a:off x="0" y="0"/>
          <a:ext cx="0" cy="0"/>
          <a:chOff x="0" y="0"/>
          <a:chExt cx="0" cy="0"/>
        </a:xfrm>
      </p:grpSpPr>
      <p:sp>
        <p:nvSpPr>
          <p:cNvPr id="26" name="Text Placeholder 12"/>
          <p:cNvSpPr>
            <a:spLocks noGrp="1"/>
          </p:cNvSpPr>
          <p:nvPr>
            <p:ph type="body" sz="quarter" idx="21" hasCustomPrompt="1"/>
          </p:nvPr>
        </p:nvSpPr>
        <p:spPr>
          <a:xfrm>
            <a:off x="9053104" y="2471043"/>
            <a:ext cx="2524125" cy="3389236"/>
          </a:xfrm>
          <a:prstGeom prst="rect">
            <a:avLst/>
          </a:prstGeom>
        </p:spPr>
        <p:txBody>
          <a:bodyPr lIns="0" tIns="0" rIns="0" bIns="0">
            <a:noAutofit/>
          </a:bodyPr>
          <a:lstStyle>
            <a:lvl1pPr marL="0" indent="-182870">
              <a:lnSpc>
                <a:spcPct val="100000"/>
              </a:lnSpc>
              <a:buClr>
                <a:schemeClr val="accent4"/>
              </a:buClr>
              <a:defRPr sz="1200"/>
            </a:lvl1pPr>
            <a:lvl2pPr marL="359982" indent="-182390">
              <a:lnSpc>
                <a:spcPct val="100000"/>
              </a:lnSpc>
              <a:buClr>
                <a:schemeClr val="accent4"/>
              </a:buClr>
              <a:defRPr sz="1200"/>
            </a:lvl2pPr>
            <a:lvl3pPr marL="479976" indent="-182390" algn="l">
              <a:lnSpc>
                <a:spcPct val="100000"/>
              </a:lnSpc>
              <a:buClr>
                <a:schemeClr val="accent4"/>
              </a:buClr>
              <a:defRPr sz="1200"/>
            </a:lvl3pPr>
            <a:lvl4pPr marL="681566" indent="-182390">
              <a:lnSpc>
                <a:spcPct val="100000"/>
              </a:lnSpc>
              <a:buClr>
                <a:schemeClr val="accent4"/>
              </a:buClr>
              <a:defRPr sz="1200"/>
            </a:lvl4pPr>
            <a:lvl5pPr marL="873557" indent="-182390">
              <a:lnSpc>
                <a:spcPct val="100000"/>
              </a:lnSpc>
              <a:buClr>
                <a:schemeClr val="accent4"/>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599709" y="1567520"/>
            <a:ext cx="2522065" cy="802640"/>
          </a:xfrm>
          <a:prstGeom prst="rect">
            <a:avLst/>
          </a:prstGeom>
          <a:solidFill>
            <a:schemeClr val="accent3"/>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6270711" y="2471043"/>
            <a:ext cx="2524125" cy="3389236"/>
          </a:xfrm>
          <a:prstGeom prst="rect">
            <a:avLst/>
          </a:prstGeom>
        </p:spPr>
        <p:txBody>
          <a:bodyPr lIns="0" tIns="0" rIns="0" bIns="0">
            <a:noAutofit/>
          </a:bodyPr>
          <a:lstStyle>
            <a:lvl1pPr marL="0" indent="-182870">
              <a:lnSpc>
                <a:spcPct val="100000"/>
              </a:lnSpc>
              <a:buClr>
                <a:schemeClr val="accent2"/>
              </a:buClr>
              <a:defRPr sz="1200"/>
            </a:lvl1pPr>
            <a:lvl2pPr marL="359982" indent="-182390">
              <a:lnSpc>
                <a:spcPct val="100000"/>
              </a:lnSpc>
              <a:buClr>
                <a:schemeClr val="accent2"/>
              </a:buClr>
              <a:defRPr sz="1200"/>
            </a:lvl2pPr>
            <a:lvl3pPr marL="479976" indent="-182390" algn="l">
              <a:lnSpc>
                <a:spcPct val="100000"/>
              </a:lnSpc>
              <a:buClr>
                <a:schemeClr val="accent2"/>
              </a:buClr>
              <a:defRPr sz="1200"/>
            </a:lvl3pPr>
            <a:lvl4pPr marL="681566" indent="-182390">
              <a:lnSpc>
                <a:spcPct val="100000"/>
              </a:lnSpc>
              <a:buClr>
                <a:schemeClr val="accent2"/>
              </a:buClr>
              <a:defRPr sz="1200"/>
            </a:lvl4pPr>
            <a:lvl5pPr marL="873557" indent="-182390">
              <a:lnSpc>
                <a:spcPct val="100000"/>
              </a:lnSpc>
              <a:buClr>
                <a:schemeClr val="accent2"/>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3433288" y="2471043"/>
            <a:ext cx="2524125" cy="3389236"/>
          </a:xfrm>
          <a:prstGeom prst="rect">
            <a:avLst/>
          </a:prstGeom>
        </p:spPr>
        <p:txBody>
          <a:bodyPr lIns="0" tIns="0" rIns="0" bIns="0">
            <a:noAutofit/>
          </a:bodyPr>
          <a:lstStyle>
            <a:lvl1pPr marL="0" indent="-182870">
              <a:lnSpc>
                <a:spcPct val="100000"/>
              </a:lnSpc>
              <a:buClr>
                <a:schemeClr val="accent5"/>
              </a:buClr>
              <a:defRPr sz="1200"/>
            </a:lvl1pPr>
            <a:lvl2pPr marL="359982" indent="-182390">
              <a:lnSpc>
                <a:spcPct val="100000"/>
              </a:lnSpc>
              <a:buClr>
                <a:schemeClr val="accent5"/>
              </a:buClr>
              <a:defRPr sz="1200"/>
            </a:lvl2pPr>
            <a:lvl3pPr marL="479976" indent="-182390" algn="l">
              <a:lnSpc>
                <a:spcPct val="100000"/>
              </a:lnSpc>
              <a:buClr>
                <a:schemeClr val="accent5"/>
              </a:buClr>
              <a:defRPr sz="1200"/>
            </a:lvl3pPr>
            <a:lvl4pPr marL="681566" indent="-182390">
              <a:lnSpc>
                <a:spcPct val="100000"/>
              </a:lnSpc>
              <a:buClr>
                <a:schemeClr val="accent5"/>
              </a:buClr>
              <a:defRPr sz="1200"/>
            </a:lvl4pPr>
            <a:lvl5pPr marL="873557" indent="-182390">
              <a:lnSpc>
                <a:spcPct val="100000"/>
              </a:lnSpc>
              <a:buClr>
                <a:schemeClr val="accent5"/>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99316" y="2471043"/>
            <a:ext cx="2524125" cy="3389236"/>
          </a:xfrm>
          <a:prstGeom prst="rect">
            <a:avLst/>
          </a:prstGeom>
        </p:spPr>
        <p:txBody>
          <a:bodyPr lIns="0" tIns="0" rIns="0" bIns="0">
            <a:noAutofit/>
          </a:bodyPr>
          <a:lstStyle>
            <a:lvl1pPr marL="0" indent="-182870">
              <a:lnSpc>
                <a:spcPct val="100000"/>
              </a:lnSpc>
              <a:buClr>
                <a:schemeClr val="accent3"/>
              </a:buClr>
              <a:defRPr sz="1200"/>
            </a:lvl1pPr>
            <a:lvl2pPr marL="359982" indent="-182390">
              <a:lnSpc>
                <a:spcPct val="100000"/>
              </a:lnSpc>
              <a:buClr>
                <a:schemeClr val="accent3"/>
              </a:buClr>
              <a:defRPr sz="1200"/>
            </a:lvl2pPr>
            <a:lvl3pPr marL="479976" indent="-182390" algn="l">
              <a:lnSpc>
                <a:spcPct val="100000"/>
              </a:lnSpc>
              <a:buClr>
                <a:schemeClr val="accent3"/>
              </a:buClr>
              <a:defRPr sz="1200"/>
            </a:lvl3pPr>
            <a:lvl4pPr marL="681566" indent="-182390">
              <a:lnSpc>
                <a:spcPct val="100000"/>
              </a:lnSpc>
              <a:buClr>
                <a:schemeClr val="accent3"/>
              </a:buClr>
              <a:defRPr sz="1200"/>
            </a:lvl4pPr>
            <a:lvl5pPr marL="873557" indent="-182390">
              <a:lnSpc>
                <a:spcPct val="100000"/>
              </a:lnSpc>
              <a:buClr>
                <a:schemeClr val="accent3"/>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3437524" y="1567520"/>
            <a:ext cx="2522065" cy="802640"/>
          </a:xfrm>
          <a:prstGeom prst="rect">
            <a:avLst/>
          </a:prstGeom>
          <a:solidFill>
            <a:schemeClr val="accent5"/>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6267263" y="1567520"/>
            <a:ext cx="2522065" cy="802640"/>
          </a:xfrm>
          <a:prstGeom prst="rect">
            <a:avLst/>
          </a:prstGeom>
          <a:solidFill>
            <a:schemeClr val="accent2"/>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9065017" y="1567520"/>
            <a:ext cx="2522065" cy="802640"/>
          </a:xfrm>
          <a:prstGeom prst="rect">
            <a:avLst/>
          </a:prstGeom>
          <a:solidFill>
            <a:schemeClr val="accent4"/>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5" name="Title Placeholder 1">
            <a:extLst>
              <a:ext uri="{FF2B5EF4-FFF2-40B4-BE49-F238E27FC236}">
                <a16:creationId xmlns:a16="http://schemas.microsoft.com/office/drawing/2014/main" id="{E683AED9-F7C6-85EA-D98A-A617F3F2CE98}"/>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42928849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act">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588972" y="1515566"/>
            <a:ext cx="10995801" cy="347313"/>
          </a:xfrm>
          <a:prstGeom prst="rect">
            <a:avLst/>
          </a:prstGeom>
        </p:spPr>
        <p:txBody>
          <a:bodyPr lIns="0" tIns="0" rIns="0" bIns="0">
            <a:normAutofit/>
          </a:bodyPr>
          <a:lstStyle>
            <a:lvl1pPr marL="0" indent="0">
              <a:buFontTx/>
              <a:buNone/>
              <a:defRPr sz="1867" b="1" i="0"/>
            </a:lvl1pPr>
          </a:lstStyle>
          <a:p>
            <a:pPr lvl="0"/>
            <a:r>
              <a:rPr lang="en-GB" noProof="0"/>
              <a:t>Name</a:t>
            </a:r>
          </a:p>
        </p:txBody>
      </p:sp>
      <p:sp>
        <p:nvSpPr>
          <p:cNvPr id="21" name="Text Placeholder 2"/>
          <p:cNvSpPr>
            <a:spLocks noGrp="1"/>
          </p:cNvSpPr>
          <p:nvPr>
            <p:ph idx="13" hasCustomPrompt="1"/>
          </p:nvPr>
        </p:nvSpPr>
        <p:spPr bwMode="auto">
          <a:xfrm>
            <a:off x="588971" y="1943740"/>
            <a:ext cx="10986549" cy="3693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a:lvl1pPr>
            <a:lvl2pPr marL="362982" indent="0">
              <a:buNone/>
              <a:defRPr/>
            </a:lvl2pPr>
            <a:lvl3pPr marL="718165" indent="0">
              <a:buNone/>
              <a:defRPr/>
            </a:lvl3pPr>
            <a:lvl4pPr marL="1096775" indent="0">
              <a:buNone/>
              <a:defRPr/>
            </a:lvl4pPr>
            <a:lvl5pPr marL="1384760" indent="0">
              <a:buNone/>
              <a:defRPr/>
            </a:lvl5pPr>
          </a:lstStyle>
          <a:p>
            <a:r>
              <a:rPr lang="en-GB" noProof="0"/>
              <a:t>Title</a:t>
            </a:r>
          </a:p>
        </p:txBody>
      </p:sp>
      <p:sp>
        <p:nvSpPr>
          <p:cNvPr id="22" name="Text Placeholder 2"/>
          <p:cNvSpPr>
            <a:spLocks noGrp="1"/>
          </p:cNvSpPr>
          <p:nvPr>
            <p:ph idx="16" hasCustomPrompt="1"/>
          </p:nvPr>
        </p:nvSpPr>
        <p:spPr bwMode="auto">
          <a:xfrm>
            <a:off x="993053" y="3887050"/>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00 (0)00 0000 0000</a:t>
            </a:r>
          </a:p>
        </p:txBody>
      </p:sp>
      <p:sp>
        <p:nvSpPr>
          <p:cNvPr id="23" name="Text Placeholder 2"/>
          <p:cNvSpPr>
            <a:spLocks noGrp="1"/>
          </p:cNvSpPr>
          <p:nvPr>
            <p:ph idx="17" hasCustomPrompt="1"/>
          </p:nvPr>
        </p:nvSpPr>
        <p:spPr bwMode="auto">
          <a:xfrm>
            <a:off x="588971" y="5413419"/>
            <a:ext cx="10986549" cy="38487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b="1" i="0">
                <a:solidFill>
                  <a:schemeClr val="accent1"/>
                </a:solidFill>
              </a:defRPr>
            </a:lvl1pPr>
            <a:lvl2pPr marL="362982" indent="0">
              <a:buNone/>
              <a:defRPr/>
            </a:lvl2pPr>
            <a:lvl3pPr marL="718165" indent="0">
              <a:buNone/>
              <a:defRPr/>
            </a:lvl3pPr>
            <a:lvl4pPr marL="1096775" indent="0">
              <a:buNone/>
              <a:defRPr/>
            </a:lvl4pPr>
            <a:lvl5pPr marL="1384760" indent="0">
              <a:buNone/>
              <a:defRPr/>
            </a:lvl5pPr>
          </a:lstStyle>
          <a:p>
            <a:pPr lvl="0"/>
            <a:r>
              <a:rPr lang="en-GB" noProof="0"/>
              <a:t>www.gs1.org</a:t>
            </a:r>
          </a:p>
        </p:txBody>
      </p:sp>
      <p:sp>
        <p:nvSpPr>
          <p:cNvPr id="24" name="Text Placeholder 2"/>
          <p:cNvSpPr>
            <a:spLocks noGrp="1"/>
          </p:cNvSpPr>
          <p:nvPr>
            <p:ph idx="19" hasCustomPrompt="1"/>
          </p:nvPr>
        </p:nvSpPr>
        <p:spPr bwMode="auto">
          <a:xfrm>
            <a:off x="993053" y="4895059"/>
            <a:ext cx="10582467" cy="3368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name@gs1.org</a:t>
            </a:r>
          </a:p>
        </p:txBody>
      </p:sp>
      <p:sp>
        <p:nvSpPr>
          <p:cNvPr id="27" name="Text Placeholder 2"/>
          <p:cNvSpPr>
            <a:spLocks noGrp="1"/>
          </p:cNvSpPr>
          <p:nvPr>
            <p:ph idx="22" hasCustomPrompt="1"/>
          </p:nvPr>
        </p:nvSpPr>
        <p:spPr bwMode="auto">
          <a:xfrm>
            <a:off x="588971" y="2374947"/>
            <a:ext cx="10986549" cy="13908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b="0" baseline="0"/>
            </a:lvl1pPr>
            <a:lvl2pPr marL="362982" indent="0">
              <a:buNone/>
              <a:defRPr/>
            </a:lvl2pPr>
            <a:lvl3pPr marL="718165" indent="0">
              <a:buNone/>
              <a:defRPr/>
            </a:lvl3pPr>
            <a:lvl4pPr marL="1096775" indent="0">
              <a:buNone/>
              <a:defRPr/>
            </a:lvl4pPr>
            <a:lvl5pPr marL="1384760" indent="0">
              <a:buNone/>
              <a:defRPr/>
            </a:lvl5pPr>
          </a:lstStyle>
          <a:p>
            <a:pPr lvl="0"/>
            <a:r>
              <a:rPr lang="en-GB" noProof="0"/>
              <a:t>GS1 Address</a:t>
            </a:r>
          </a:p>
        </p:txBody>
      </p:sp>
      <p:sp>
        <p:nvSpPr>
          <p:cNvPr id="32" name="Text Placeholder 2"/>
          <p:cNvSpPr>
            <a:spLocks noGrp="1"/>
          </p:cNvSpPr>
          <p:nvPr>
            <p:ph idx="27" hasCustomPrompt="1"/>
          </p:nvPr>
        </p:nvSpPr>
        <p:spPr bwMode="auto">
          <a:xfrm>
            <a:off x="993053" y="4222785"/>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00 (0)00 0000 0000</a:t>
            </a:r>
          </a:p>
        </p:txBody>
      </p:sp>
      <p:sp>
        <p:nvSpPr>
          <p:cNvPr id="33" name="Text Placeholder 2"/>
          <p:cNvSpPr>
            <a:spLocks noGrp="1"/>
          </p:cNvSpPr>
          <p:nvPr>
            <p:ph idx="28" hasCustomPrompt="1"/>
          </p:nvPr>
        </p:nvSpPr>
        <p:spPr bwMode="auto">
          <a:xfrm>
            <a:off x="993053" y="4558520"/>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592196" y="3889057"/>
            <a:ext cx="388627" cy="354563"/>
          </a:xfrm>
          <a:prstGeom prst="rect">
            <a:avLst/>
          </a:prstGeom>
        </p:spPr>
        <p:txBody>
          <a:bodyPr vert="horz" lIns="0" tIns="0" rIns="0" bIns="0"/>
          <a:lstStyle>
            <a:lvl1pPr marL="98996" indent="0" algn="l">
              <a:buNone/>
              <a:defRPr sz="1600" b="1" i="0"/>
            </a:lvl1pPr>
          </a:lstStyle>
          <a:p>
            <a:pPr lvl="0"/>
            <a:r>
              <a:rPr lang="en-GB" noProof="0"/>
              <a:t>T</a:t>
            </a:r>
          </a:p>
        </p:txBody>
      </p:sp>
      <p:sp>
        <p:nvSpPr>
          <p:cNvPr id="42" name="Text Placeholder 40"/>
          <p:cNvSpPr>
            <a:spLocks noGrp="1"/>
          </p:cNvSpPr>
          <p:nvPr>
            <p:ph type="body" sz="quarter" idx="34" hasCustomPrompt="1"/>
          </p:nvPr>
        </p:nvSpPr>
        <p:spPr>
          <a:xfrm>
            <a:off x="592196" y="4221377"/>
            <a:ext cx="388627" cy="354563"/>
          </a:xfrm>
          <a:prstGeom prst="rect">
            <a:avLst/>
          </a:prstGeom>
        </p:spPr>
        <p:txBody>
          <a:bodyPr vert="horz" lIns="0" tIns="0" rIns="0" bIns="0"/>
          <a:lstStyle>
            <a:lvl1pPr marL="98996" indent="0" algn="l">
              <a:buNone/>
              <a:defRPr sz="1600" b="1" i="0"/>
            </a:lvl1pPr>
          </a:lstStyle>
          <a:p>
            <a:pPr lvl="0"/>
            <a:r>
              <a:rPr lang="en-GB" noProof="0"/>
              <a:t>D</a:t>
            </a:r>
          </a:p>
        </p:txBody>
      </p:sp>
      <p:sp>
        <p:nvSpPr>
          <p:cNvPr id="43" name="Text Placeholder 40"/>
          <p:cNvSpPr>
            <a:spLocks noGrp="1"/>
          </p:cNvSpPr>
          <p:nvPr>
            <p:ph type="body" sz="quarter" idx="35" hasCustomPrompt="1"/>
          </p:nvPr>
        </p:nvSpPr>
        <p:spPr>
          <a:xfrm>
            <a:off x="592196" y="4557933"/>
            <a:ext cx="388627" cy="354563"/>
          </a:xfrm>
          <a:prstGeom prst="rect">
            <a:avLst/>
          </a:prstGeom>
        </p:spPr>
        <p:txBody>
          <a:bodyPr vert="horz" lIns="0" tIns="0" rIns="0" bIns="0"/>
          <a:lstStyle>
            <a:lvl1pPr marL="98996" indent="0" algn="l">
              <a:buNone/>
              <a:defRPr sz="1600" b="1" i="0"/>
            </a:lvl1pPr>
          </a:lstStyle>
          <a:p>
            <a:pPr lvl="0"/>
            <a:r>
              <a:rPr lang="en-GB" noProof="0"/>
              <a:t>M</a:t>
            </a:r>
          </a:p>
        </p:txBody>
      </p:sp>
      <p:sp>
        <p:nvSpPr>
          <p:cNvPr id="44" name="Text Placeholder 40"/>
          <p:cNvSpPr>
            <a:spLocks noGrp="1"/>
          </p:cNvSpPr>
          <p:nvPr>
            <p:ph type="body" sz="quarter" idx="36" hasCustomPrompt="1"/>
          </p:nvPr>
        </p:nvSpPr>
        <p:spPr>
          <a:xfrm>
            <a:off x="592196" y="4894840"/>
            <a:ext cx="388627" cy="354563"/>
          </a:xfrm>
          <a:prstGeom prst="rect">
            <a:avLst/>
          </a:prstGeom>
        </p:spPr>
        <p:txBody>
          <a:bodyPr vert="horz" lIns="0" tIns="0" rIns="0" bIns="0"/>
          <a:lstStyle>
            <a:lvl1pPr marL="98996" indent="0" algn="l">
              <a:buNone/>
              <a:defRPr sz="1600" b="1" i="0"/>
            </a:lvl1pPr>
          </a:lstStyle>
          <a:p>
            <a:pPr lvl="0"/>
            <a:r>
              <a:rPr lang="en-GB" noProof="0"/>
              <a:t>E</a:t>
            </a:r>
          </a:p>
        </p:txBody>
      </p:sp>
      <p:sp>
        <p:nvSpPr>
          <p:cNvPr id="2" name="Title Placeholder 1">
            <a:extLst>
              <a:ext uri="{FF2B5EF4-FFF2-40B4-BE49-F238E27FC236}">
                <a16:creationId xmlns:a16="http://schemas.microsoft.com/office/drawing/2014/main" id="{6D025EEC-96AF-FCC6-923E-D1978B0F1DFD}"/>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968098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_Bottom Whit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E44536-7F34-75F4-522E-D41D08F32023}"/>
              </a:ext>
            </a:extLst>
          </p:cNvPr>
          <p:cNvGraphicFramePr>
            <a:graphicFrameLocks noChangeAspect="1"/>
          </p:cNvGraphicFramePr>
          <p:nvPr userDrawn="1">
            <p:custDataLst>
              <p:tags r:id="rId1"/>
            </p:custDataLst>
            <p:extLst>
              <p:ext uri="{D42A27DB-BD31-4B8C-83A1-F6EECF244321}">
                <p14:modId xmlns:p14="http://schemas.microsoft.com/office/powerpoint/2010/main" val="171135356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5" progId="TCLayout.ActiveDocument.1">
                  <p:embed/>
                </p:oleObj>
              </mc:Choice>
              <mc:Fallback>
                <p:oleObj name="think-cell Slide" r:id="rId3" imgW="606" imgH="605" progId="TCLayout.ActiveDocument.1">
                  <p:embed/>
                  <p:pic>
                    <p:nvPicPr>
                      <p:cNvPr id="5" name="think-cell data - do not delete" hidden="1">
                        <a:extLst>
                          <a:ext uri="{FF2B5EF4-FFF2-40B4-BE49-F238E27FC236}">
                            <a16:creationId xmlns:a16="http://schemas.microsoft.com/office/drawing/2014/main" id="{B7E44536-7F34-75F4-522E-D41D08F32023}"/>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pPr defTabSz="914377" fontAlgn="base">
              <a:spcAft>
                <a:spcPct val="0"/>
              </a:spcAft>
              <a:defRPr/>
            </a:pPr>
            <a:fld id="{4472AB7F-E8D0-4874-A9B8-335B68DC5F05}" type="slidenum">
              <a:rPr lang="en-GB" smtClean="0"/>
              <a:pPr defTabSz="914377" fontAlgn="base">
                <a:spcAft>
                  <a:spcPct val="0"/>
                </a:spcAft>
                <a:defRPr/>
              </a:pPr>
              <a:t>‹#›</a:t>
            </a:fld>
            <a:endParaRPr lang="en-GB"/>
          </a:p>
        </p:txBody>
      </p:sp>
      <p:sp>
        <p:nvSpPr>
          <p:cNvPr id="2" name="Title Placeholder 1">
            <a:extLst>
              <a:ext uri="{FF2B5EF4-FFF2-40B4-BE49-F238E27FC236}">
                <a16:creationId xmlns:a16="http://schemas.microsoft.com/office/drawing/2014/main" id="{FDF2FBDC-CCA1-5626-CC79-517AC87142C8}"/>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2400"/>
            </a:lvl1pPr>
          </a:lstStyle>
          <a:p>
            <a:pPr lvl="0"/>
            <a:r>
              <a:rPr lang="en-GB" noProof="0"/>
              <a:t>Title goes here and can be two lines</a:t>
            </a:r>
          </a:p>
        </p:txBody>
      </p:sp>
      <p:sp>
        <p:nvSpPr>
          <p:cNvPr id="3" name="Rectangle 2">
            <a:extLst>
              <a:ext uri="{FF2B5EF4-FFF2-40B4-BE49-F238E27FC236}">
                <a16:creationId xmlns:a16="http://schemas.microsoft.com/office/drawing/2014/main" id="{33564248-88BB-8A2D-2619-22B29B64A2FD}"/>
              </a:ext>
            </a:extLst>
          </p:cNvPr>
          <p:cNvSpPr/>
          <p:nvPr userDrawn="1"/>
        </p:nvSpPr>
        <p:spPr>
          <a:xfrm>
            <a:off x="0" y="4048125"/>
            <a:ext cx="12192000" cy="280987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rtl="0">
              <a:spcAft>
                <a:spcPts val="300"/>
              </a:spcAft>
            </a:pPr>
            <a:endParaRPr lang="en-GB" sz="700" b="1">
              <a:solidFill>
                <a:schemeClr val="tx1"/>
              </a:solidFill>
            </a:endParaRPr>
          </a:p>
        </p:txBody>
      </p:sp>
    </p:spTree>
    <p:extLst>
      <p:ext uri="{BB962C8B-B14F-4D97-AF65-F5344CB8AC3E}">
        <p14:creationId xmlns:p14="http://schemas.microsoft.com/office/powerpoint/2010/main" val="24538925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498081"/>
          </a:xfrm>
          <a:prstGeom prst="rect">
            <a:avLst/>
          </a:prstGeom>
        </p:spPr>
        <p:txBody>
          <a:bodyPr lIns="0" tIns="0" rIns="0" bIns="0">
            <a:noAutofit/>
          </a:bodyPr>
          <a:lstStyle>
            <a:lvl1pPr marL="0" indent="0">
              <a:lnSpc>
                <a:spcPct val="100000"/>
              </a:lnSpc>
              <a:buFontTx/>
              <a:buNone/>
              <a:defRPr sz="2400" b="1" i="0"/>
            </a:lvl1pPr>
          </a:lstStyle>
          <a:p>
            <a:pPr lvl="0"/>
            <a:r>
              <a:rPr lang="en-GB" noProof="0"/>
              <a:t>Click to edit heading</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073412"/>
            <a:ext cx="10988943" cy="379791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tle Placeholder 1">
            <a:extLst>
              <a:ext uri="{FF2B5EF4-FFF2-40B4-BE49-F238E27FC236}">
                <a16:creationId xmlns:a16="http://schemas.microsoft.com/office/drawing/2014/main" id="{A4EF65B0-2AE4-21C6-6C5D-F0EE7FD5B020}"/>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12446558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3_Header Orang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AFC5ED-962C-2977-0683-D3AD53B015B1}"/>
              </a:ext>
            </a:extLst>
          </p:cNvPr>
          <p:cNvGraphicFramePr>
            <a:graphicFrameLocks noChangeAspect="1"/>
          </p:cNvGraphicFramePr>
          <p:nvPr userDrawn="1">
            <p:custDataLst>
              <p:tags r:id="rId1"/>
            </p:custDataLst>
            <p:extLst>
              <p:ext uri="{D42A27DB-BD31-4B8C-83A1-F6EECF244321}">
                <p14:modId xmlns:p14="http://schemas.microsoft.com/office/powerpoint/2010/main" val="2966558389"/>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think-cell data - do not delete" hidden="1">
                        <a:extLst>
                          <a:ext uri="{FF2B5EF4-FFF2-40B4-BE49-F238E27FC236}">
                            <a16:creationId xmlns:a16="http://schemas.microsoft.com/office/drawing/2014/main" id="{AEAFC5ED-962C-2977-0683-D3AD53B015B1}"/>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defTabSz="1218990" fontAlgn="base">
              <a:spcAft>
                <a:spcPct val="0"/>
              </a:spcAft>
              <a:defRPr/>
            </a:pPr>
            <a:fld id="{4472AB7F-E8D0-4874-A9B8-335B68DC5F05}" type="slidenum">
              <a:rPr lang="en-GB" smtClean="0"/>
              <a:pPr defTabSz="1218990" fontAlgn="base">
                <a:spcAft>
                  <a:spcPct val="0"/>
                </a:spcAft>
                <a:defRPr/>
              </a:pPr>
              <a:t>‹#›</a:t>
            </a:fld>
            <a:endParaRPr lang="en-GB"/>
          </a:p>
        </p:txBody>
      </p:sp>
      <p:sp>
        <p:nvSpPr>
          <p:cNvPr id="5" name="Rectangle 4"/>
          <p:cNvSpPr/>
          <p:nvPr/>
        </p:nvSpPr>
        <p:spPr>
          <a:xfrm>
            <a:off x="0" y="0"/>
            <a:ext cx="12192000" cy="6055056"/>
          </a:xfrm>
          <a:prstGeom prst="rect">
            <a:avLst/>
          </a:prstGeom>
          <a:solidFill>
            <a:schemeClr val="tx2"/>
          </a:solidFill>
          <a:ln w="25400">
            <a:noFill/>
          </a:ln>
          <a:effectLst/>
        </p:spPr>
        <p:style>
          <a:lnRef idx="1">
            <a:schemeClr val="accent1"/>
          </a:lnRef>
          <a:fillRef idx="3">
            <a:schemeClr val="accent1"/>
          </a:fillRef>
          <a:effectRef idx="2">
            <a:schemeClr val="accent1"/>
          </a:effectRef>
          <a:fontRef idx="minor">
            <a:schemeClr val="lt1"/>
          </a:fontRef>
        </p:style>
        <p:txBody>
          <a:bodyPr rtlCol="0" anchor="t"/>
          <a:lstStyle/>
          <a:p>
            <a:pPr marR="0" lvl="0" indent="0" algn="ctr" rtl="0" fontAlgn="auto">
              <a:lnSpc>
                <a:spcPct val="100000"/>
              </a:lnSpc>
              <a:spcBef>
                <a:spcPts val="0"/>
              </a:spcBef>
              <a:spcAft>
                <a:spcPts val="300"/>
              </a:spcAft>
              <a:buClrTx/>
              <a:buSzTx/>
              <a:buFontTx/>
              <a:buNone/>
              <a:tabLst/>
            </a:pPr>
            <a:endParaRPr kumimoji="0" lang="en-GB" sz="1400" b="1" i="0" u="none" strike="noStrike" cap="none" spc="0" normalizeH="0" baseline="0" noProof="0">
              <a:ln>
                <a:noFill/>
              </a:ln>
              <a:solidFill>
                <a:prstClr val="white"/>
              </a:solidFill>
              <a:effectLst/>
              <a:uLnTx/>
              <a:uFillTx/>
              <a:latin typeface="Verdana"/>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4" indent="0" rtl="0">
              <a:lnSpc>
                <a:spcPct val="100000"/>
              </a:lnSpc>
              <a:buNone/>
              <a:defRPr sz="4000" b="1">
                <a:solidFill>
                  <a:schemeClr val="bg1"/>
                </a:solidFill>
              </a:defRPr>
            </a:lvl1pPr>
            <a:lvl2pPr marL="362974" indent="0">
              <a:buNone/>
              <a:defRPr>
                <a:solidFill>
                  <a:schemeClr val="bg1"/>
                </a:solidFill>
              </a:defRPr>
            </a:lvl2pPr>
            <a:lvl3pPr marL="718147" indent="0">
              <a:buNone/>
              <a:defRPr>
                <a:solidFill>
                  <a:schemeClr val="bg1"/>
                </a:solidFill>
              </a:defRPr>
            </a:lvl3pPr>
            <a:lvl4pPr marL="1096747" indent="0">
              <a:buNone/>
              <a:defRPr>
                <a:solidFill>
                  <a:schemeClr val="bg1"/>
                </a:solidFill>
              </a:defRPr>
            </a:lvl4pPr>
            <a:lvl5pPr marL="1384725" indent="0">
              <a:buNone/>
              <a:defRPr>
                <a:solidFill>
                  <a:schemeClr val="bg1"/>
                </a:solidFill>
              </a:defRPr>
            </a:lvl5pPr>
          </a:lstStyle>
          <a:p>
            <a:pPr lvl="0"/>
            <a:r>
              <a:rPr lang="en-GB" noProof="0"/>
              <a:t>Click to edit header</a:t>
            </a:r>
          </a:p>
        </p:txBody>
      </p:sp>
    </p:spTree>
    <p:extLst>
      <p:ext uri="{BB962C8B-B14F-4D97-AF65-F5344CB8AC3E}">
        <p14:creationId xmlns:p14="http://schemas.microsoft.com/office/powerpoint/2010/main" val="22000388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Editable Colou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3EA452-E4C8-02D1-4C99-87124FC67D1D}"/>
              </a:ext>
            </a:extLst>
          </p:cNvPr>
          <p:cNvSpPr/>
          <p:nvPr userDrawn="1"/>
        </p:nvSpPr>
        <p:spPr>
          <a:xfrm>
            <a:off x="0" y="1"/>
            <a:ext cx="12192000" cy="6084163"/>
          </a:xfrm>
          <a:prstGeom prst="rect">
            <a:avLst/>
          </a:prstGeom>
          <a:solidFill>
            <a:srgbClr val="888B8D"/>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2" name="Slide Number Placeholder 1"/>
          <p:cNvSpPr>
            <a:spLocks noGrp="1"/>
          </p:cNvSpPr>
          <p:nvPr>
            <p:ph type="sldNum" sz="quarter" idx="12"/>
          </p:nvPr>
        </p:nvSpPr>
        <p:spPr/>
        <p:txBody>
          <a:bodyPr/>
          <a:lstStyle/>
          <a:p>
            <a:pPr defTabSz="914377" fontAlgn="base">
              <a:spcAft>
                <a:spcPct val="0"/>
              </a:spcAft>
              <a:defRPr/>
            </a:pPr>
            <a:fld id="{4472AB7F-E8D0-4874-A9B8-335B68DC5F05}" type="slidenum">
              <a:rPr lang="en-GB" smtClean="0"/>
              <a:pPr defTabSz="914377" fontAlgn="base">
                <a:spcAft>
                  <a:spcPct val="0"/>
                </a:spcAft>
                <a:defRPr/>
              </a:pPr>
              <a:t>‹#›</a:t>
            </a:fld>
            <a:endParaRPr lang="en-GB"/>
          </a:p>
        </p:txBody>
      </p:sp>
      <p:pic>
        <p:nvPicPr>
          <p:cNvPr id="9" name="Picture 8">
            <a:extLst>
              <a:ext uri="{FF2B5EF4-FFF2-40B4-BE49-F238E27FC236}">
                <a16:creationId xmlns:a16="http://schemas.microsoft.com/office/drawing/2014/main" id="{E359E0A6-0CBB-59A6-4A9F-95245214E1BE}"/>
              </a:ext>
            </a:extLst>
          </p:cNvPr>
          <p:cNvPicPr>
            <a:picLocks noChangeAspect="1"/>
          </p:cNvPicPr>
          <p:nvPr userDrawn="1"/>
        </p:nvPicPr>
        <p:blipFill>
          <a:blip r:embed="rId3">
            <a:alphaModFix amt="58000"/>
          </a:blip>
          <a:srcRect l="46207" b="11283"/>
          <a:stretch/>
        </p:blipFill>
        <p:spPr>
          <a:xfrm>
            <a:off x="5631543" y="1"/>
            <a:ext cx="6558456" cy="6084163"/>
          </a:xfrm>
          <a:prstGeom prst="rect">
            <a:avLst/>
          </a:prstGeom>
        </p:spPr>
      </p:pic>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1" y="1222841"/>
            <a:ext cx="10996721" cy="852703"/>
          </a:xfrm>
          <a:prstGeom prst="rect">
            <a:avLst/>
          </a:prstGeom>
        </p:spPr>
        <p:txBody>
          <a:bodyPr lIns="0" tIns="0" rIns="0" bIns="0"/>
          <a:lstStyle>
            <a:lvl1pPr marL="0" indent="0" algn="l">
              <a:buNone/>
              <a:defRPr sz="1867" b="0" i="0" cap="none" spc="120" baseline="0">
                <a:solidFill>
                  <a:schemeClr val="bg1"/>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1"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Editable colour in master divider slide</a:t>
            </a:r>
          </a:p>
        </p:txBody>
      </p:sp>
    </p:spTree>
    <p:extLst>
      <p:ext uri="{BB962C8B-B14F-4D97-AF65-F5344CB8AC3E}">
        <p14:creationId xmlns:p14="http://schemas.microsoft.com/office/powerpoint/2010/main" val="36525049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Orang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914377" fontAlgn="base">
              <a:spcAft>
                <a:spcPct val="0"/>
              </a:spcAft>
              <a:defRPr/>
            </a:pPr>
            <a:fld id="{4472AB7F-E8D0-4874-A9B8-335B68DC5F05}" type="slidenum">
              <a:rPr lang="en-GB" smtClean="0"/>
              <a:pPr defTabSz="914377" fontAlgn="base">
                <a:spcAft>
                  <a:spcPct val="0"/>
                </a:spcAft>
                <a:defRPr/>
              </a:pPr>
              <a:t>‹#›</a:t>
            </a:fld>
            <a:endParaRPr lang="en-GB"/>
          </a:p>
        </p:txBody>
      </p:sp>
      <p:sp>
        <p:nvSpPr>
          <p:cNvPr id="5" name="Text Placeholder 19">
            <a:extLst>
              <a:ext uri="{FF2B5EF4-FFF2-40B4-BE49-F238E27FC236}">
                <a16:creationId xmlns:a16="http://schemas.microsoft.com/office/drawing/2014/main" id="{EA470840-6830-0355-7809-F8C901949B68}"/>
              </a:ext>
            </a:extLst>
          </p:cNvPr>
          <p:cNvSpPr>
            <a:spLocks noGrp="1"/>
          </p:cNvSpPr>
          <p:nvPr>
            <p:ph type="body" sz="quarter" idx="11" hasCustomPrompt="1"/>
          </p:nvPr>
        </p:nvSpPr>
        <p:spPr>
          <a:xfrm>
            <a:off x="596641" y="1222841"/>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718131DC-3F72-C578-A90A-5DA37F7D22BA}"/>
              </a:ext>
            </a:extLst>
          </p:cNvPr>
          <p:cNvSpPr>
            <a:spLocks noGrp="1"/>
          </p:cNvSpPr>
          <p:nvPr>
            <p:ph type="title" hasCustomPrompt="1"/>
          </p:nvPr>
        </p:nvSpPr>
        <p:spPr bwMode="auto">
          <a:xfrm>
            <a:off x="596641"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35239329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E44536-7F34-75F4-522E-D41D08F32023}"/>
              </a:ext>
            </a:extLst>
          </p:cNvPr>
          <p:cNvGraphicFramePr>
            <a:graphicFrameLocks noChangeAspect="1"/>
          </p:cNvGraphicFramePr>
          <p:nvPr userDrawn="1">
            <p:custDataLst>
              <p:tags r:id="rId1"/>
            </p:custDataLst>
            <p:extLst>
              <p:ext uri="{D42A27DB-BD31-4B8C-83A1-F6EECF244321}">
                <p14:modId xmlns:p14="http://schemas.microsoft.com/office/powerpoint/2010/main" val="208854870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5" progId="TCLayout.ActiveDocument.1">
                  <p:embed/>
                </p:oleObj>
              </mc:Choice>
              <mc:Fallback>
                <p:oleObj name="think-cell Slide" r:id="rId3" imgW="606" imgH="605" progId="TCLayout.ActiveDocument.1">
                  <p:embed/>
                  <p:pic>
                    <p:nvPicPr>
                      <p:cNvPr id="5" name="think-cell data - do not delete" hidden="1">
                        <a:extLst>
                          <a:ext uri="{FF2B5EF4-FFF2-40B4-BE49-F238E27FC236}">
                            <a16:creationId xmlns:a16="http://schemas.microsoft.com/office/drawing/2014/main" id="{B7E44536-7F34-75F4-522E-D41D08F32023}"/>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E101A9A-74DD-1F48-FBB0-4F69B1921563}"/>
              </a:ext>
            </a:extLst>
          </p:cNvPr>
          <p:cNvSpPr/>
          <p:nvPr userDrawn="1"/>
        </p:nvSpPr>
        <p:spPr>
          <a:xfrm>
            <a:off x="385011" y="5986978"/>
            <a:ext cx="11405936" cy="718393"/>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solidFill>
                <a:schemeClr val="tx1"/>
              </a:solidFill>
            </a:endParaRP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 name="Title Placeholder 1">
            <a:extLst>
              <a:ext uri="{FF2B5EF4-FFF2-40B4-BE49-F238E27FC236}">
                <a16:creationId xmlns:a16="http://schemas.microsoft.com/office/drawing/2014/main" id="{FDF2FBDC-CCA1-5626-CC79-517AC87142C8}"/>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2400"/>
            </a:lvl1pPr>
          </a:lstStyle>
          <a:p>
            <a:pPr lvl="0"/>
            <a:r>
              <a:rPr lang="en-GB" noProof="0"/>
              <a:t>Title goes here and can be two lines</a:t>
            </a:r>
          </a:p>
        </p:txBody>
      </p:sp>
    </p:spTree>
    <p:extLst>
      <p:ext uri="{BB962C8B-B14F-4D97-AF65-F5344CB8AC3E}">
        <p14:creationId xmlns:p14="http://schemas.microsoft.com/office/powerpoint/2010/main" val="3250990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Corporate Visu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771482" y="2863617"/>
            <a:ext cx="8631948" cy="727163"/>
          </a:xfrm>
          <a:prstGeom prst="rect">
            <a:avLst/>
          </a:prstGeom>
        </p:spPr>
        <p:txBody>
          <a:bodyPr lIns="0" tIns="0" rIns="0" bIns="0" anchor="t" anchorCtr="0"/>
          <a:lstStyle>
            <a:lvl1pPr algn="l">
              <a:lnSpc>
                <a:spcPct val="100000"/>
              </a:lnSpc>
              <a:defRPr sz="2400"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771492" y="3719459"/>
            <a:ext cx="8631939" cy="562237"/>
          </a:xfrm>
          <a:prstGeom prst="rect">
            <a:avLst/>
          </a:prstGeom>
        </p:spPr>
        <p:txBody>
          <a:bodyPr lIns="0" tIns="0" rIns="0" bIns="0"/>
          <a:lstStyle>
            <a:lvl1pPr marL="0" indent="0" algn="l">
              <a:buNone/>
              <a:defRPr sz="1600" b="0" i="0" cap="none" spc="120" baseline="0">
                <a:solidFill>
                  <a:srgbClr val="FFFFFF"/>
                </a:solidFill>
                <a:latin typeface="Verdana"/>
                <a:cs typeface="Verdana"/>
              </a:defRPr>
            </a:lvl1pPr>
          </a:lstStyle>
          <a:p>
            <a:pPr lvl="0"/>
            <a:r>
              <a:rPr lang="en-GB" noProof="0"/>
              <a:t>Click to Add Subtitle</a:t>
            </a:r>
          </a:p>
        </p:txBody>
      </p:sp>
      <p:cxnSp>
        <p:nvCxnSpPr>
          <p:cNvPr id="11" name="Straight Connector 10"/>
          <p:cNvCxnSpPr/>
          <p:nvPr/>
        </p:nvCxnSpPr>
        <p:spPr>
          <a:xfrm>
            <a:off x="766690" y="4401984"/>
            <a:ext cx="8625655" cy="344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786223" y="4544427"/>
            <a:ext cx="8617208" cy="521519"/>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786198" y="5111679"/>
            <a:ext cx="8617233"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33577943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lat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41125370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F6F11-0711-430A-B257-249449ABB08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954BA958-7CAD-44A7-9F86-1D1D396FD482}"/>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156F9F2-441E-4FF5-8E46-66E8BC0FA56E}"/>
              </a:ext>
            </a:extLst>
          </p:cNvPr>
          <p:cNvSpPr>
            <a:spLocks noGrp="1"/>
          </p:cNvSpPr>
          <p:nvPr>
            <p:ph type="dt" sz="half" idx="10"/>
          </p:nvPr>
        </p:nvSpPr>
        <p:spPr/>
        <p:txBody>
          <a:bodyPr/>
          <a:lstStyle/>
          <a:p>
            <a:fld id="{F7AB32B1-87D9-4CF3-83F4-CCC4E7D84702}" type="datetimeFigureOut">
              <a:rPr lang="en-IN" smtClean="0"/>
              <a:t>07-10-2025</a:t>
            </a:fld>
            <a:endParaRPr lang="en-IN"/>
          </a:p>
        </p:txBody>
      </p:sp>
      <p:sp>
        <p:nvSpPr>
          <p:cNvPr id="5" name="Footer Placeholder 4">
            <a:extLst>
              <a:ext uri="{FF2B5EF4-FFF2-40B4-BE49-F238E27FC236}">
                <a16:creationId xmlns:a16="http://schemas.microsoft.com/office/drawing/2014/main" id="{A8915011-2E69-4B37-B437-002CEF3C508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124B6EB-6964-4AEB-8748-6FA2764446CD}"/>
              </a:ext>
            </a:extLst>
          </p:cNvPr>
          <p:cNvSpPr>
            <a:spLocks noGrp="1"/>
          </p:cNvSpPr>
          <p:nvPr>
            <p:ph type="sldNum" sz="quarter" idx="12"/>
          </p:nvPr>
        </p:nvSpPr>
        <p:spPr/>
        <p:txBody>
          <a:bodyPr/>
          <a:lstStyle/>
          <a:p>
            <a:fld id="{3D66C621-B93B-45F7-BF1B-EF88C959506C}" type="slidenum">
              <a:rPr lang="en-IN" smtClean="0"/>
              <a:t>‹#›</a:t>
            </a:fld>
            <a:endParaRPr lang="en-IN"/>
          </a:p>
        </p:txBody>
      </p:sp>
    </p:spTree>
    <p:extLst>
      <p:ext uri="{BB962C8B-B14F-4D97-AF65-F5344CB8AC3E}">
        <p14:creationId xmlns:p14="http://schemas.microsoft.com/office/powerpoint/2010/main" val="28846918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67" b="1" i="0">
                <a:solidFill>
                  <a:srgbClr val="002C6C"/>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sz="1467" b="0" i="0">
                <a:solidFill>
                  <a:srgbClr val="454545"/>
                </a:solidFill>
                <a:latin typeface="Verdana"/>
                <a:cs typeface="Verdana"/>
              </a:defRPr>
            </a:lvl1pPr>
          </a:lstStyle>
          <a:p>
            <a:endParaRPr/>
          </a:p>
        </p:txBody>
      </p:sp>
      <p:sp>
        <p:nvSpPr>
          <p:cNvPr id="4" name="Holder 4"/>
          <p:cNvSpPr>
            <a:spLocks noGrp="1"/>
          </p:cNvSpPr>
          <p:nvPr>
            <p:ph type="ftr" sz="quarter" idx="5"/>
          </p:nvPr>
        </p:nvSpPr>
        <p:spPr/>
        <p:txBody>
          <a:bodyPr lIns="0" tIns="0" rIns="0" bIns="0"/>
          <a:lstStyle>
            <a:lvl1pPr>
              <a:defRPr sz="667" b="0" i="0">
                <a:solidFill>
                  <a:srgbClr val="454545"/>
                </a:solidFill>
                <a:latin typeface="Verdana"/>
                <a:cs typeface="Verdana"/>
              </a:defRPr>
            </a:lvl1pPr>
          </a:lstStyle>
          <a:p>
            <a:pPr marL="16933">
              <a:spcBef>
                <a:spcPts val="140"/>
              </a:spcBef>
            </a:pPr>
            <a:r>
              <a:rPr lang="en-ZA"/>
              <a:t>©</a:t>
            </a:r>
            <a:r>
              <a:rPr lang="en-ZA" spc="-7"/>
              <a:t> </a:t>
            </a:r>
            <a:r>
              <a:rPr lang="en-ZA"/>
              <a:t>GS1</a:t>
            </a:r>
            <a:r>
              <a:rPr lang="en-ZA" spc="-33"/>
              <a:t> </a:t>
            </a:r>
            <a:r>
              <a:rPr lang="en-ZA" spc="-27"/>
              <a:t>2021</a:t>
            </a:r>
            <a:endParaRPr lang="en-ZA" spc="-27"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5</a:t>
            </a:fld>
            <a:endParaRPr lang="en-US"/>
          </a:p>
        </p:txBody>
      </p:sp>
      <p:sp>
        <p:nvSpPr>
          <p:cNvPr id="6" name="Holder 6"/>
          <p:cNvSpPr>
            <a:spLocks noGrp="1"/>
          </p:cNvSpPr>
          <p:nvPr>
            <p:ph type="sldNum" sz="quarter" idx="7"/>
          </p:nvPr>
        </p:nvSpPr>
        <p:spPr/>
        <p:txBody>
          <a:bodyPr lIns="0" tIns="0" rIns="0" bIns="0"/>
          <a:lstStyle>
            <a:lvl1pPr>
              <a:defRPr sz="800" b="0" i="0">
                <a:solidFill>
                  <a:srgbClr val="454545"/>
                </a:solidFill>
                <a:latin typeface="Verdana"/>
                <a:cs typeface="Verdana"/>
              </a:defRPr>
            </a:lvl1pPr>
          </a:lstStyle>
          <a:p>
            <a:pPr marL="78738">
              <a:spcBef>
                <a:spcPts val="133"/>
              </a:spcBef>
            </a:pPr>
            <a:fld id="{81D60167-4931-47E6-BA6A-407CBD079E47}" type="slidenum">
              <a:rPr lang="en-ZA" spc="-67" smtClean="0"/>
              <a:pPr marL="78738">
                <a:spcBef>
                  <a:spcPts val="133"/>
                </a:spcBef>
              </a:pPr>
              <a:t>‹#›</a:t>
            </a:fld>
            <a:endParaRPr lang="en-ZA" spc="-67" dirty="0"/>
          </a:p>
        </p:txBody>
      </p:sp>
    </p:spTree>
    <p:extLst>
      <p:ext uri="{BB962C8B-B14F-4D97-AF65-F5344CB8AC3E}">
        <p14:creationId xmlns:p14="http://schemas.microsoft.com/office/powerpoint/2010/main" val="6275425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E44536-7F34-75F4-522E-D41D08F32023}"/>
              </a:ext>
            </a:extLst>
          </p:cNvPr>
          <p:cNvGraphicFramePr>
            <a:graphicFrameLocks noChangeAspect="1"/>
          </p:cNvGraphicFramePr>
          <p:nvPr userDrawn="1">
            <p:custDataLst>
              <p:tags r:id="rId1"/>
            </p:custDataLst>
            <p:extLst>
              <p:ext uri="{D42A27DB-BD31-4B8C-83A1-F6EECF244321}">
                <p14:modId xmlns:p14="http://schemas.microsoft.com/office/powerpoint/2010/main" val="171135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5" progId="TCLayout.ActiveDocument.1">
                  <p:embed/>
                </p:oleObj>
              </mc:Choice>
              <mc:Fallback>
                <p:oleObj name="think-cell Slide" r:id="rId3" imgW="606" imgH="605" progId="TCLayout.ActiveDocument.1">
                  <p:embed/>
                  <p:pic>
                    <p:nvPicPr>
                      <p:cNvPr id="5" name="think-cell data - do not delete" hidden="1">
                        <a:extLst>
                          <a:ext uri="{FF2B5EF4-FFF2-40B4-BE49-F238E27FC236}">
                            <a16:creationId xmlns:a16="http://schemas.microsoft.com/office/drawing/2014/main" id="{B7E44536-7F34-75F4-522E-D41D08F32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 name="Title Placeholder 1">
            <a:extLst>
              <a:ext uri="{FF2B5EF4-FFF2-40B4-BE49-F238E27FC236}">
                <a16:creationId xmlns:a16="http://schemas.microsoft.com/office/drawing/2014/main" id="{FDF2FBDC-CCA1-5626-CC79-517AC87142C8}"/>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2400"/>
            </a:lvl1pPr>
          </a:lstStyle>
          <a:p>
            <a:pPr lvl="0"/>
            <a:r>
              <a:rPr lang="en-GB" noProof="0"/>
              <a:t>Title goes here and can be two lines</a:t>
            </a:r>
          </a:p>
        </p:txBody>
      </p:sp>
    </p:spTree>
    <p:extLst>
      <p:ext uri="{BB962C8B-B14F-4D97-AF65-F5344CB8AC3E}">
        <p14:creationId xmlns:p14="http://schemas.microsoft.com/office/powerpoint/2010/main" val="880836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2B5447-D7C3-8578-C852-9E94363C616C}"/>
              </a:ext>
            </a:extLst>
          </p:cNvPr>
          <p:cNvGraphicFramePr>
            <a:graphicFrameLocks noChangeAspect="1"/>
          </p:cNvGraphicFramePr>
          <p:nvPr userDrawn="1">
            <p:custDataLst>
              <p:tags r:id="rId1"/>
            </p:custDataLst>
            <p:extLst>
              <p:ext uri="{D42A27DB-BD31-4B8C-83A1-F6EECF244321}">
                <p14:modId xmlns:p14="http://schemas.microsoft.com/office/powerpoint/2010/main" val="139567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5" progId="TCLayout.ActiveDocument.1">
                  <p:embed/>
                </p:oleObj>
              </mc:Choice>
              <mc:Fallback>
                <p:oleObj name="think-cell Slide" r:id="rId3" imgW="606" imgH="605" progId="TCLayout.ActiveDocument.1">
                  <p:embed/>
                  <p:pic>
                    <p:nvPicPr>
                      <p:cNvPr id="5" name="think-cell data - do not delete" hidden="1">
                        <a:extLst>
                          <a:ext uri="{FF2B5EF4-FFF2-40B4-BE49-F238E27FC236}">
                            <a16:creationId xmlns:a16="http://schemas.microsoft.com/office/drawing/2014/main" id="{AC2B5447-D7C3-8578-C852-9E94363C61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2"/>
          <p:cNvSpPr>
            <a:spLocks noGrp="1"/>
          </p:cNvSpPr>
          <p:nvPr>
            <p:ph idx="11" hasCustomPrompt="1"/>
          </p:nvPr>
        </p:nvSpPr>
        <p:spPr bwMode="auto">
          <a:xfrm>
            <a:off x="596961" y="1455212"/>
            <a:ext cx="10988943" cy="441611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3" name="Title Placeholder 1">
            <a:extLst>
              <a:ext uri="{FF2B5EF4-FFF2-40B4-BE49-F238E27FC236}">
                <a16:creationId xmlns:a16="http://schemas.microsoft.com/office/drawing/2014/main" id="{AF26BE69-88EE-8427-B11E-269109F3FA2F}"/>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2400"/>
            </a:lvl1pPr>
          </a:lstStyle>
          <a:p>
            <a:pPr lvl="0"/>
            <a:r>
              <a:rPr lang="en-GB" noProof="0"/>
              <a:t>Title goes here and can be two lines</a:t>
            </a:r>
          </a:p>
        </p:txBody>
      </p:sp>
    </p:spTree>
    <p:extLst>
      <p:ext uri="{BB962C8B-B14F-4D97-AF65-F5344CB8AC3E}">
        <p14:creationId xmlns:p14="http://schemas.microsoft.com/office/powerpoint/2010/main" val="30048092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867171"/>
          </a:xfrm>
          <a:prstGeom prst="rect">
            <a:avLst/>
          </a:prstGeom>
        </p:spPr>
        <p:txBody>
          <a:bodyPr lIns="0" tIns="0" rIns="0" bIns="0">
            <a:noAutofit/>
          </a:bodyPr>
          <a:lstStyle>
            <a:lvl1pPr marL="0" indent="0">
              <a:lnSpc>
                <a:spcPct val="100000"/>
              </a:lnSpc>
              <a:buFontTx/>
              <a:buNone/>
              <a:defRPr sz="2400" b="1" i="0">
                <a:solidFill>
                  <a:schemeClr val="accent1"/>
                </a:solidFill>
              </a:defRPr>
            </a:lvl1pPr>
          </a:lstStyle>
          <a:p>
            <a:pPr lvl="0"/>
            <a:r>
              <a:rPr lang="en-GB" noProof="0"/>
              <a:t>Click to edit text. Main idea, quote, or phrases two lines or fewer may go in this text box. </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444691"/>
            <a:ext cx="10988943" cy="34266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tle Placeholder 1">
            <a:extLst>
              <a:ext uri="{FF2B5EF4-FFF2-40B4-BE49-F238E27FC236}">
                <a16:creationId xmlns:a16="http://schemas.microsoft.com/office/drawing/2014/main" id="{E728A95F-AD9D-4D6F-E917-F2936C11B0DD}"/>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11010525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498081"/>
          </a:xfrm>
          <a:prstGeom prst="rect">
            <a:avLst/>
          </a:prstGeom>
        </p:spPr>
        <p:txBody>
          <a:bodyPr lIns="0" tIns="0" rIns="0" bIns="0">
            <a:noAutofit/>
          </a:bodyPr>
          <a:lstStyle>
            <a:lvl1pPr marL="0" indent="0">
              <a:lnSpc>
                <a:spcPct val="100000"/>
              </a:lnSpc>
              <a:buFontTx/>
              <a:buNone/>
              <a:defRPr sz="2400" b="1" i="0"/>
            </a:lvl1pPr>
          </a:lstStyle>
          <a:p>
            <a:pPr lvl="0"/>
            <a:r>
              <a:rPr lang="en-GB" noProof="0"/>
              <a:t>Click to edit heading</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073412"/>
            <a:ext cx="10988943" cy="379791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tle Placeholder 1">
            <a:extLst>
              <a:ext uri="{FF2B5EF4-FFF2-40B4-BE49-F238E27FC236}">
                <a16:creationId xmlns:a16="http://schemas.microsoft.com/office/drawing/2014/main" id="{A4EF65B0-2AE4-21C6-6C5D-F0EE7FD5B020}"/>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8545845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867171"/>
          </a:xfrm>
          <a:prstGeom prst="rect">
            <a:avLst/>
          </a:prstGeom>
        </p:spPr>
        <p:txBody>
          <a:bodyPr lIns="0" tIns="0" rIns="0" bIns="0">
            <a:noAutofit/>
          </a:bodyPr>
          <a:lstStyle>
            <a:lvl1pPr marL="0" indent="0">
              <a:lnSpc>
                <a:spcPct val="100000"/>
              </a:lnSpc>
              <a:buFontTx/>
              <a:buNone/>
              <a:defRPr sz="2400" b="1" i="0">
                <a:solidFill>
                  <a:schemeClr val="accent1"/>
                </a:solidFill>
              </a:defRPr>
            </a:lvl1pPr>
          </a:lstStyle>
          <a:p>
            <a:pPr lvl="0"/>
            <a:r>
              <a:rPr lang="en-GB" noProof="0"/>
              <a:t>Click to edit text. Main idea, quote, or phrases two lines or fewer may go in this text box. </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444691"/>
            <a:ext cx="10988943" cy="34266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tle Placeholder 1">
            <a:extLst>
              <a:ext uri="{FF2B5EF4-FFF2-40B4-BE49-F238E27FC236}">
                <a16:creationId xmlns:a16="http://schemas.microsoft.com/office/drawing/2014/main" id="{E728A95F-AD9D-4D6F-E917-F2936C11B0DD}"/>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4752688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1161163"/>
          </a:xfrm>
          <a:prstGeom prst="rect">
            <a:avLst/>
          </a:prstGeom>
        </p:spPr>
        <p:txBody>
          <a:bodyPr lIns="0" tIns="0" rIns="0" bIns="0">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marL="0" marR="0" lvl="0" indent="0" algn="l" defTabSz="60952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s three lines or fewer may go in this text box. For text over three lines, adjust the size of this box.</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743202"/>
            <a:ext cx="10988943" cy="3128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tle Placeholder 1">
            <a:extLst>
              <a:ext uri="{FF2B5EF4-FFF2-40B4-BE49-F238E27FC236}">
                <a16:creationId xmlns:a16="http://schemas.microsoft.com/office/drawing/2014/main" id="{3818827E-53E2-F6FA-6E3A-19226DB38BEA}"/>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10490156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16" name="Text Placeholder 5"/>
          <p:cNvSpPr>
            <a:spLocks noGrp="1"/>
          </p:cNvSpPr>
          <p:nvPr>
            <p:ph type="body" sz="quarter" idx="15" hasCustomPrompt="1"/>
          </p:nvPr>
        </p:nvSpPr>
        <p:spPr>
          <a:xfrm>
            <a:off x="606661" y="1455429"/>
            <a:ext cx="5223516" cy="737544"/>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
        <p:nvSpPr>
          <p:cNvPr id="18" name="Text Placeholder 12"/>
          <p:cNvSpPr>
            <a:spLocks noGrp="1"/>
          </p:cNvSpPr>
          <p:nvPr>
            <p:ph type="body" sz="quarter" idx="17" hasCustomPrompt="1"/>
          </p:nvPr>
        </p:nvSpPr>
        <p:spPr>
          <a:xfrm>
            <a:off x="607626" y="2311178"/>
            <a:ext cx="5221380" cy="3560455"/>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6362700" y="1455429"/>
            <a:ext cx="5224363" cy="737544"/>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
        <p:nvSpPr>
          <p:cNvPr id="12" name="Text Placeholder 12"/>
          <p:cNvSpPr>
            <a:spLocks noGrp="1"/>
          </p:cNvSpPr>
          <p:nvPr>
            <p:ph type="body" sz="quarter" idx="20" hasCustomPrompt="1"/>
          </p:nvPr>
        </p:nvSpPr>
        <p:spPr>
          <a:xfrm>
            <a:off x="6364513" y="2311178"/>
            <a:ext cx="5221380" cy="3560455"/>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11263314" y="6346174"/>
            <a:ext cx="330047" cy="200260"/>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3" name="Title Placeholder 1">
            <a:extLst>
              <a:ext uri="{FF2B5EF4-FFF2-40B4-BE49-F238E27FC236}">
                <a16:creationId xmlns:a16="http://schemas.microsoft.com/office/drawing/2014/main" id="{AA7A2BA9-2AFB-105E-5227-42287B480BBC}"/>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9328474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16" name="Text Placeholder 5"/>
          <p:cNvSpPr>
            <a:spLocks noGrp="1"/>
          </p:cNvSpPr>
          <p:nvPr>
            <p:ph type="body" sz="quarter" idx="15" hasCustomPrompt="1"/>
          </p:nvPr>
        </p:nvSpPr>
        <p:spPr>
          <a:xfrm>
            <a:off x="596982" y="1455430"/>
            <a:ext cx="3348485" cy="654317"/>
          </a:xfrm>
          <a:prstGeom prst="rect">
            <a:avLst/>
          </a:prstGeom>
        </p:spPr>
        <p:txBody>
          <a:bodyPr lIns="0" tIns="0" rIns="0" bIns="0" anchor="b" anchorCtr="0">
            <a:noAutofit/>
          </a:bodyPr>
          <a:lstStyle>
            <a:lvl1pPr marL="0" indent="0">
              <a:lnSpc>
                <a:spcPct val="100000"/>
              </a:lnSpc>
              <a:buFontTx/>
              <a:buNone/>
              <a:defRPr sz="20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596982" y="2247358"/>
            <a:ext cx="3347489" cy="3625500"/>
          </a:xfrm>
          <a:prstGeom prst="rect">
            <a:avLst/>
          </a:prstGeom>
        </p:spPr>
        <p:txBody>
          <a:bodyPr lIns="0" tIns="0" rIns="0" bIns="0">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4363339" y="1455430"/>
            <a:ext cx="3348485" cy="654317"/>
          </a:xfrm>
          <a:prstGeom prst="rect">
            <a:avLst/>
          </a:prstGeom>
        </p:spPr>
        <p:txBody>
          <a:bodyPr lIns="0" tIns="0" rIns="0" bIns="0" anchor="b" anchorCtr="0">
            <a:noAutofit/>
          </a:bodyPr>
          <a:lstStyle>
            <a:lvl1pPr marL="0" indent="0">
              <a:lnSpc>
                <a:spcPct val="100000"/>
              </a:lnSpc>
              <a:buFontTx/>
              <a:buNone/>
              <a:defRPr sz="20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4363838" y="2247358"/>
            <a:ext cx="3347489" cy="3625500"/>
          </a:xfrm>
          <a:prstGeom prst="rect">
            <a:avLst/>
          </a:prstGeom>
        </p:spPr>
        <p:txBody>
          <a:bodyPr lIns="0" tIns="0" rIns="0" bIns="0">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8236902" y="1455430"/>
            <a:ext cx="3348485" cy="654317"/>
          </a:xfrm>
          <a:prstGeom prst="rect">
            <a:avLst/>
          </a:prstGeom>
        </p:spPr>
        <p:txBody>
          <a:bodyPr lIns="0" tIns="0" rIns="0" bIns="0" anchor="b" anchorCtr="0">
            <a:noAutofit/>
          </a:bodyPr>
          <a:lstStyle>
            <a:lvl1pPr marL="0" indent="0">
              <a:lnSpc>
                <a:spcPct val="100000"/>
              </a:lnSpc>
              <a:buFontTx/>
              <a:buNone/>
              <a:defRPr sz="20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8237401" y="2247358"/>
            <a:ext cx="3347489" cy="3625500"/>
          </a:xfrm>
          <a:prstGeom prst="rect">
            <a:avLst/>
          </a:prstGeom>
        </p:spPr>
        <p:txBody>
          <a:bodyPr lIns="0" tIns="0" rIns="0" bIns="0">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Title Placeholder 1">
            <a:extLst>
              <a:ext uri="{FF2B5EF4-FFF2-40B4-BE49-F238E27FC236}">
                <a16:creationId xmlns:a16="http://schemas.microsoft.com/office/drawing/2014/main" id="{D24450A0-1EF2-309C-1EE5-63EDBD67D870}"/>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9693395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6168484" y="2419234"/>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6166679" y="1643070"/>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
        <p:nvSpPr>
          <p:cNvPr id="13" name="Picture Placeholder 4"/>
          <p:cNvSpPr>
            <a:spLocks noGrp="1"/>
          </p:cNvSpPr>
          <p:nvPr>
            <p:ph type="pic" sz="quarter" idx="14" hasCustomPrompt="1"/>
          </p:nvPr>
        </p:nvSpPr>
        <p:spPr>
          <a:xfrm>
            <a:off x="596900" y="1293411"/>
            <a:ext cx="5189667" cy="4675367"/>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3" name="Title Placeholder 1">
            <a:extLst>
              <a:ext uri="{FF2B5EF4-FFF2-40B4-BE49-F238E27FC236}">
                <a16:creationId xmlns:a16="http://schemas.microsoft.com/office/drawing/2014/main" id="{2DEBA183-A998-BB28-42B7-5EB1D60E761C}"/>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147934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Picture Placeholder 4"/>
          <p:cNvSpPr>
            <a:spLocks noGrp="1"/>
          </p:cNvSpPr>
          <p:nvPr>
            <p:ph type="pic" sz="quarter" idx="14" hasCustomPrompt="1"/>
          </p:nvPr>
        </p:nvSpPr>
        <p:spPr>
          <a:xfrm>
            <a:off x="596900"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Rectangle 3"/>
          <p:cNvSpPr/>
          <p:nvPr userDrawn="1"/>
        </p:nvSpPr>
        <p:spPr>
          <a:xfrm>
            <a:off x="596901"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algn="l">
              <a:lnSpc>
                <a:spcPct val="110000"/>
              </a:lnSpc>
            </a:pPr>
            <a:endParaRPr lang="en-GB" sz="1200" b="0" i="1" noProof="0">
              <a:solidFill>
                <a:schemeClr val="bg1"/>
              </a:solidFill>
            </a:endParaRPr>
          </a:p>
        </p:txBody>
      </p:sp>
      <p:sp>
        <p:nvSpPr>
          <p:cNvPr id="13"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a:solidFill>
                  <a:schemeClr val="bg1"/>
                </a:solidFill>
              </a:rPr>
              <a:t>Caption or</a:t>
            </a:r>
            <a:r>
              <a:rPr lang="en-GB" sz="1467" b="0" i="1" baseline="0" noProof="0">
                <a:solidFill>
                  <a:schemeClr val="bg1"/>
                </a:solidFill>
              </a:rPr>
              <a:t> credit for a photo could be put in this space. </a:t>
            </a:r>
            <a:r>
              <a:rPr lang="en-GB" sz="1467" b="0" i="1" noProof="0">
                <a:solidFill>
                  <a:schemeClr val="bg1"/>
                </a:solidFill>
              </a:rPr>
              <a:t>You may adjust the height of this box</a:t>
            </a:r>
            <a:r>
              <a:rPr lang="en-GB" sz="1467" b="0" i="1" baseline="0" noProof="0">
                <a:solidFill>
                  <a:schemeClr val="bg1"/>
                </a:solidFill>
              </a:rPr>
              <a:t> to accommodate more or less text. Suggested number of lines of text is no less than two and no more than four.</a:t>
            </a:r>
            <a:endParaRPr lang="en-GB" sz="1467" b="0" i="1" noProof="0">
              <a:solidFill>
                <a:schemeClr val="bg1"/>
              </a:solidFill>
            </a:endParaRPr>
          </a:p>
        </p:txBody>
      </p:sp>
      <p:sp>
        <p:nvSpPr>
          <p:cNvPr id="3" name="Title Placeholder 1">
            <a:extLst>
              <a:ext uri="{FF2B5EF4-FFF2-40B4-BE49-F238E27FC236}">
                <a16:creationId xmlns:a16="http://schemas.microsoft.com/office/drawing/2014/main" id="{3FAD04EC-FFA1-F65D-4AE7-87DAAE63E8C0}"/>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7" name="Text Placeholder 12">
            <a:extLst>
              <a:ext uri="{FF2B5EF4-FFF2-40B4-BE49-F238E27FC236}">
                <a16:creationId xmlns:a16="http://schemas.microsoft.com/office/drawing/2014/main" id="{8345CDC8-4D32-194E-D61E-861B1DD1D49F}"/>
              </a:ext>
            </a:extLst>
          </p:cNvPr>
          <p:cNvSpPr>
            <a:spLocks noGrp="1"/>
          </p:cNvSpPr>
          <p:nvPr>
            <p:ph type="body" sz="quarter" idx="20" hasCustomPrompt="1"/>
          </p:nvPr>
        </p:nvSpPr>
        <p:spPr>
          <a:xfrm>
            <a:off x="6168484" y="2419234"/>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5">
            <a:extLst>
              <a:ext uri="{FF2B5EF4-FFF2-40B4-BE49-F238E27FC236}">
                <a16:creationId xmlns:a16="http://schemas.microsoft.com/office/drawing/2014/main" id="{FA13186E-3A14-1188-0195-D96B726EC48D}"/>
              </a:ext>
            </a:extLst>
          </p:cNvPr>
          <p:cNvSpPr>
            <a:spLocks noGrp="1"/>
          </p:cNvSpPr>
          <p:nvPr>
            <p:ph type="body" sz="quarter" idx="19" hasCustomPrompt="1"/>
          </p:nvPr>
        </p:nvSpPr>
        <p:spPr>
          <a:xfrm>
            <a:off x="6166679" y="1643070"/>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11662777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3" name="Title Placeholder 1">
            <a:extLst>
              <a:ext uri="{FF2B5EF4-FFF2-40B4-BE49-F238E27FC236}">
                <a16:creationId xmlns:a16="http://schemas.microsoft.com/office/drawing/2014/main" id="{4743C78D-3A94-222D-515C-DBD366737CDD}"/>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6" name="Picture Placeholder 4">
            <a:extLst>
              <a:ext uri="{FF2B5EF4-FFF2-40B4-BE49-F238E27FC236}">
                <a16:creationId xmlns:a16="http://schemas.microsoft.com/office/drawing/2014/main" id="{7233F58C-22FF-EF1C-9EA4-BB1FF4DB5EE2}"/>
              </a:ext>
            </a:extLst>
          </p:cNvPr>
          <p:cNvSpPr>
            <a:spLocks noGrp="1"/>
          </p:cNvSpPr>
          <p:nvPr>
            <p:ph type="pic" sz="quarter" idx="14" hasCustomPrompt="1"/>
          </p:nvPr>
        </p:nvSpPr>
        <p:spPr>
          <a:xfrm>
            <a:off x="6398256" y="1293411"/>
            <a:ext cx="5189667" cy="4675367"/>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7" name="Text Placeholder 12">
            <a:extLst>
              <a:ext uri="{FF2B5EF4-FFF2-40B4-BE49-F238E27FC236}">
                <a16:creationId xmlns:a16="http://schemas.microsoft.com/office/drawing/2014/main" id="{21B3A332-BC1C-B2B7-8D25-FFEFD0C83898}"/>
              </a:ext>
            </a:extLst>
          </p:cNvPr>
          <p:cNvSpPr>
            <a:spLocks noGrp="1"/>
          </p:cNvSpPr>
          <p:nvPr>
            <p:ph type="body" sz="quarter" idx="20" hasCustomPrompt="1"/>
          </p:nvPr>
        </p:nvSpPr>
        <p:spPr>
          <a:xfrm>
            <a:off x="598444" y="2419234"/>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5">
            <a:extLst>
              <a:ext uri="{FF2B5EF4-FFF2-40B4-BE49-F238E27FC236}">
                <a16:creationId xmlns:a16="http://schemas.microsoft.com/office/drawing/2014/main" id="{C1E37B17-5772-3B5D-73F7-2A9DE958789C}"/>
              </a:ext>
            </a:extLst>
          </p:cNvPr>
          <p:cNvSpPr>
            <a:spLocks noGrp="1"/>
          </p:cNvSpPr>
          <p:nvPr>
            <p:ph type="body" sz="quarter" idx="19" hasCustomPrompt="1"/>
          </p:nvPr>
        </p:nvSpPr>
        <p:spPr>
          <a:xfrm>
            <a:off x="596639" y="1643070"/>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34870370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3" name="Picture Placeholder 4"/>
          <p:cNvSpPr>
            <a:spLocks noGrp="1"/>
          </p:cNvSpPr>
          <p:nvPr>
            <p:ph type="pic" sz="quarter" idx="14" hasCustomPrompt="1"/>
          </p:nvPr>
        </p:nvSpPr>
        <p:spPr>
          <a:xfrm>
            <a:off x="6394076"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24" name="Rectangle 23"/>
          <p:cNvSpPr/>
          <p:nvPr userDrawn="1"/>
        </p:nvSpPr>
        <p:spPr>
          <a:xfrm>
            <a:off x="6394077"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algn="l">
              <a:lnSpc>
                <a:spcPct val="110000"/>
              </a:lnSpc>
            </a:pPr>
            <a:endParaRPr lang="en-GB" sz="1200" b="0" i="1" noProof="0">
              <a:solidFill>
                <a:schemeClr val="bg1"/>
              </a:solidFill>
            </a:endParaRPr>
          </a:p>
        </p:txBody>
      </p:sp>
      <p:sp>
        <p:nvSpPr>
          <p:cNvPr id="9" name="Text Placeholder 6"/>
          <p:cNvSpPr>
            <a:spLocks noGrp="1"/>
          </p:cNvSpPr>
          <p:nvPr>
            <p:ph type="body" sz="quarter" idx="22" hasCustomPrompt="1"/>
          </p:nvPr>
        </p:nvSpPr>
        <p:spPr>
          <a:xfrm>
            <a:off x="65024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a:solidFill>
                  <a:schemeClr val="bg1"/>
                </a:solidFill>
              </a:rPr>
              <a:t>Caption or</a:t>
            </a:r>
            <a:r>
              <a:rPr lang="en-GB" sz="1467" b="0" i="1" baseline="0" noProof="0">
                <a:solidFill>
                  <a:schemeClr val="bg1"/>
                </a:solidFill>
              </a:rPr>
              <a:t> credit for a photo could be put in this space. </a:t>
            </a:r>
            <a:r>
              <a:rPr lang="en-GB" sz="1467" b="0" i="1" noProof="0">
                <a:solidFill>
                  <a:schemeClr val="bg1"/>
                </a:solidFill>
              </a:rPr>
              <a:t>You may adjust the height of this box</a:t>
            </a:r>
            <a:r>
              <a:rPr lang="en-GB" sz="1467" b="0" i="1" baseline="0" noProof="0">
                <a:solidFill>
                  <a:schemeClr val="bg1"/>
                </a:solidFill>
              </a:rPr>
              <a:t> to accommodate more or less text. Suggested number of lines of text is no less than two and no more than four.</a:t>
            </a:r>
            <a:endParaRPr lang="en-GB" sz="1467" b="0" i="1" noProof="0">
              <a:solidFill>
                <a:schemeClr val="bg1"/>
              </a:solidFill>
            </a:endParaRPr>
          </a:p>
        </p:txBody>
      </p:sp>
      <p:sp>
        <p:nvSpPr>
          <p:cNvPr id="3" name="Title Placeholder 1">
            <a:extLst>
              <a:ext uri="{FF2B5EF4-FFF2-40B4-BE49-F238E27FC236}">
                <a16:creationId xmlns:a16="http://schemas.microsoft.com/office/drawing/2014/main" id="{CA3ED416-1639-D0A9-3AF4-320D1CD1A757}"/>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6" name="Text Placeholder 12">
            <a:extLst>
              <a:ext uri="{FF2B5EF4-FFF2-40B4-BE49-F238E27FC236}">
                <a16:creationId xmlns:a16="http://schemas.microsoft.com/office/drawing/2014/main" id="{EEAEE1BA-23C2-918F-B8ED-869D63EA0223}"/>
              </a:ext>
            </a:extLst>
          </p:cNvPr>
          <p:cNvSpPr>
            <a:spLocks noGrp="1"/>
          </p:cNvSpPr>
          <p:nvPr>
            <p:ph type="body" sz="quarter" idx="20" hasCustomPrompt="1"/>
          </p:nvPr>
        </p:nvSpPr>
        <p:spPr>
          <a:xfrm>
            <a:off x="598444" y="2419234"/>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5">
            <a:extLst>
              <a:ext uri="{FF2B5EF4-FFF2-40B4-BE49-F238E27FC236}">
                <a16:creationId xmlns:a16="http://schemas.microsoft.com/office/drawing/2014/main" id="{39DAD6E9-9ECB-849B-340D-03F88DD10A43}"/>
              </a:ext>
            </a:extLst>
          </p:cNvPr>
          <p:cNvSpPr>
            <a:spLocks noGrp="1"/>
          </p:cNvSpPr>
          <p:nvPr>
            <p:ph type="body" sz="quarter" idx="19" hasCustomPrompt="1"/>
          </p:nvPr>
        </p:nvSpPr>
        <p:spPr>
          <a:xfrm>
            <a:off x="596639" y="1643070"/>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4545767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16" name="Picture Placeholder 4"/>
          <p:cNvSpPr>
            <a:spLocks noGrp="1"/>
          </p:cNvSpPr>
          <p:nvPr>
            <p:ph type="pic" sz="quarter" idx="14" hasCustomPrompt="1"/>
          </p:nvPr>
        </p:nvSpPr>
        <p:spPr>
          <a:xfrm>
            <a:off x="604857" y="2436482"/>
            <a:ext cx="5206276"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6369119" y="2436482"/>
            <a:ext cx="5222021"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602274" y="1560035"/>
            <a:ext cx="5209685" cy="737544"/>
          </a:xfrm>
          <a:prstGeom prst="rect">
            <a:avLst/>
          </a:prstGeom>
        </p:spPr>
        <p:txBody>
          <a:bodyPr lIns="0" tIns="0" rIns="0" anchor="b" anchorCtr="0">
            <a:noAutofit/>
          </a:bodyPr>
          <a:lstStyle>
            <a:lvl1pPr marL="0" indent="0">
              <a:lnSpc>
                <a:spcPct val="100000"/>
              </a:lnSpc>
              <a:buFontTx/>
              <a:buNone/>
              <a:defRPr sz="2400" b="1" i="0"/>
            </a:lvl1pPr>
          </a:lstStyle>
          <a:p>
            <a:pPr lvl="0"/>
            <a:r>
              <a:rPr lang="en-GB" noProof="0"/>
              <a:t>Click to edit heading</a:t>
            </a:r>
          </a:p>
        </p:txBody>
      </p:sp>
      <p:sp>
        <p:nvSpPr>
          <p:cNvPr id="19" name="Text Placeholder 5"/>
          <p:cNvSpPr>
            <a:spLocks noGrp="1"/>
          </p:cNvSpPr>
          <p:nvPr>
            <p:ph type="body" sz="quarter" idx="22" hasCustomPrompt="1"/>
          </p:nvPr>
        </p:nvSpPr>
        <p:spPr>
          <a:xfrm>
            <a:off x="6368647" y="1560035"/>
            <a:ext cx="5209685" cy="737544"/>
          </a:xfrm>
          <a:prstGeom prst="rect">
            <a:avLst/>
          </a:prstGeom>
        </p:spPr>
        <p:txBody>
          <a:bodyPr lIns="0" tIns="0" rIns="0" anchor="b" anchorCtr="0">
            <a:noAutofit/>
          </a:bodyPr>
          <a:lstStyle>
            <a:lvl1pPr marL="0" indent="0">
              <a:lnSpc>
                <a:spcPct val="100000"/>
              </a:lnSpc>
              <a:buFontTx/>
              <a:buNone/>
              <a:defRPr sz="2400" b="1" i="0"/>
            </a:lvl1pPr>
          </a:lstStyle>
          <a:p>
            <a:pPr lvl="0"/>
            <a:r>
              <a:rPr lang="en-GB" noProof="0"/>
              <a:t>Click to edit heading</a:t>
            </a:r>
          </a:p>
        </p:txBody>
      </p:sp>
      <p:sp>
        <p:nvSpPr>
          <p:cNvPr id="3" name="Title Placeholder 1">
            <a:extLst>
              <a:ext uri="{FF2B5EF4-FFF2-40B4-BE49-F238E27FC236}">
                <a16:creationId xmlns:a16="http://schemas.microsoft.com/office/drawing/2014/main" id="{A97CD8AA-D66B-F0E3-F12C-6068FCA97F88}"/>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528397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1161163"/>
          </a:xfrm>
          <a:prstGeom prst="rect">
            <a:avLst/>
          </a:prstGeom>
        </p:spPr>
        <p:txBody>
          <a:bodyPr lIns="0" tIns="0" rIns="0" bIns="0">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marL="0" marR="0" lvl="0" indent="0" algn="l" defTabSz="60952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s three lines or fewer may go in this text box. For text over three lines, adjust the size of this box.</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743202"/>
            <a:ext cx="10988943" cy="3128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tle Placeholder 1">
            <a:extLst>
              <a:ext uri="{FF2B5EF4-FFF2-40B4-BE49-F238E27FC236}">
                <a16:creationId xmlns:a16="http://schemas.microsoft.com/office/drawing/2014/main" id="{3818827E-53E2-F6FA-6E3A-19226DB38BEA}"/>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41603488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595232" y="1454730"/>
            <a:ext cx="10981011" cy="4425756"/>
          </a:xfrm>
          <a:prstGeom prst="rect">
            <a:avLst/>
          </a:prstGeom>
        </p:spPr>
        <p:txBody>
          <a:bodyPr lIns="0" tIns="0" rIns="0" bIns="0"/>
          <a:lstStyle>
            <a:lvl1pPr>
              <a:lnSpc>
                <a:spcPct val="150000"/>
              </a:lnSpc>
              <a:defRPr sz="2000"/>
            </a:lvl1pPr>
            <a:lvl2pPr>
              <a:lnSpc>
                <a:spcPct val="150000"/>
              </a:lnSpc>
              <a:defRPr sz="2000"/>
            </a:lvl2pPr>
            <a:lvl3pPr>
              <a:lnSpc>
                <a:spcPct val="150000"/>
              </a:lnSpc>
              <a:defRPr sz="2000"/>
            </a:lvl3pPr>
            <a:lvl4pPr>
              <a:lnSpc>
                <a:spcPct val="150000"/>
              </a:lnSpc>
              <a:defRPr sz="2000"/>
            </a:lvl4pPr>
            <a:lvl5pPr>
              <a:lnSpc>
                <a:spcPct val="150000"/>
              </a:lnSpc>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6" name="Title Placeholder 1">
            <a:extLst>
              <a:ext uri="{FF2B5EF4-FFF2-40B4-BE49-F238E27FC236}">
                <a16:creationId xmlns:a16="http://schemas.microsoft.com/office/drawing/2014/main" id="{DDD757B7-DE19-82F8-8928-A0FBB65E5C98}"/>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16897113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600860" y="1579754"/>
            <a:ext cx="5277477" cy="1830413"/>
          </a:xfrm>
          <a:prstGeom prst="rect">
            <a:avLst/>
          </a:prstGeom>
        </p:spPr>
        <p:txBody>
          <a:bodyPr tIns="0" rIns="0" bIns="0">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6329159" y="1579754"/>
            <a:ext cx="5261980" cy="1830413"/>
          </a:xfrm>
          <a:prstGeom prst="rect">
            <a:avLst/>
          </a:prstGeom>
        </p:spPr>
        <p:txBody>
          <a:bodyPr tIns="0" rIns="0" bIns="0">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600860" y="3870478"/>
            <a:ext cx="5277477" cy="1830413"/>
          </a:xfrm>
          <a:prstGeom prst="rect">
            <a:avLst/>
          </a:prstGeom>
        </p:spPr>
        <p:txBody>
          <a:bodyPr tIns="0" rIns="0" bIns="0">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6329159" y="3870478"/>
            <a:ext cx="5261980" cy="1830413"/>
          </a:xfrm>
          <a:prstGeom prst="rect">
            <a:avLst/>
          </a:prstGeom>
        </p:spPr>
        <p:txBody>
          <a:bodyPr lIns="91440" tIns="0" rIns="0" bIns="0">
            <a:noAutofit/>
          </a:bodyPr>
          <a:lstStyle>
            <a:lvl1pPr>
              <a:lnSpc>
                <a:spcPct val="100000"/>
              </a:lnSpc>
              <a:spcBef>
                <a:spcPts val="533"/>
              </a:spcBef>
              <a:defRPr sz="1467" kern="1200"/>
            </a:lvl1pPr>
            <a:lvl2pPr>
              <a:lnSpc>
                <a:spcPct val="100000"/>
              </a:lnSpc>
              <a:spcBef>
                <a:spcPts val="533"/>
              </a:spcBef>
              <a:defRPr sz="1467"/>
            </a:lvl2pPr>
            <a:lvl3pPr>
              <a:lnSpc>
                <a:spcPct val="100000"/>
              </a:lnSpc>
              <a:spcBef>
                <a:spcPts val="533"/>
              </a:spcBef>
              <a:defRPr sz="1467" kern="1200"/>
            </a:lvl3pPr>
            <a:lvl4pPr>
              <a:lnSpc>
                <a:spcPct val="100000"/>
              </a:lnSpc>
              <a:spcBef>
                <a:spcPts val="533"/>
              </a:spcBef>
              <a:defRPr sz="1467" kern="1200"/>
            </a:lvl4pPr>
            <a:lvl5pPr>
              <a:lnSpc>
                <a:spcPct val="100000"/>
              </a:lnSpc>
              <a:spcBef>
                <a:spcPts val="533"/>
              </a:spcBef>
              <a:defRPr sz="1467"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itle Placeholder 1">
            <a:extLst>
              <a:ext uri="{FF2B5EF4-FFF2-40B4-BE49-F238E27FC236}">
                <a16:creationId xmlns:a16="http://schemas.microsoft.com/office/drawing/2014/main" id="{9BF2EEA9-7791-5C56-E83A-5C529E7D7D67}"/>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3168015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cxnSp>
        <p:nvCxnSpPr>
          <p:cNvPr id="5" name="Straight Connector 4"/>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600860" y="2009068"/>
            <a:ext cx="5277477" cy="1511013"/>
          </a:xfrm>
          <a:prstGeom prst="rect">
            <a:avLst/>
          </a:prstGeom>
        </p:spPr>
        <p:txBody>
          <a:bodyPr lIns="0" tIns="0" rIns="0" bIns="0">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602273" y="1527167"/>
            <a:ext cx="5280403" cy="374821"/>
          </a:xfrm>
          <a:prstGeom prst="rect">
            <a:avLst/>
          </a:prstGeom>
        </p:spPr>
        <p:txBody>
          <a:bodyPr lIns="0" tIns="0" rIns="0" bIns="0" anchor="b" anchorCtr="0">
            <a:noAutofit/>
          </a:bodyPr>
          <a:lstStyle>
            <a:lvl1pPr marL="0" indent="0">
              <a:lnSpc>
                <a:spcPct val="100000"/>
              </a:lnSpc>
              <a:buFontTx/>
              <a:buNone/>
              <a:defRPr sz="1733" b="1" i="0"/>
            </a:lvl1pPr>
          </a:lstStyle>
          <a:p>
            <a:pPr lvl="0"/>
            <a:r>
              <a:rPr lang="en-GB" noProof="0"/>
              <a:t>Click to edit heading</a:t>
            </a:r>
          </a:p>
        </p:txBody>
      </p:sp>
      <p:sp>
        <p:nvSpPr>
          <p:cNvPr id="26" name="Text Placeholder 12"/>
          <p:cNvSpPr>
            <a:spLocks noGrp="1"/>
          </p:cNvSpPr>
          <p:nvPr>
            <p:ph type="body" sz="quarter" idx="22" hasCustomPrompt="1"/>
          </p:nvPr>
        </p:nvSpPr>
        <p:spPr>
          <a:xfrm>
            <a:off x="6306880" y="2009068"/>
            <a:ext cx="5277477" cy="1511013"/>
          </a:xfrm>
          <a:prstGeom prst="rect">
            <a:avLst/>
          </a:prstGeom>
        </p:spPr>
        <p:txBody>
          <a:bodyPr lIns="0" tIns="0" rIns="0" bIns="0">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6308293" y="1527167"/>
            <a:ext cx="5280403" cy="374821"/>
          </a:xfrm>
          <a:prstGeom prst="rect">
            <a:avLst/>
          </a:prstGeom>
        </p:spPr>
        <p:txBody>
          <a:bodyPr lIns="0" tIns="0" rIns="0" bIns="0" anchor="b" anchorCtr="0">
            <a:noAutofit/>
          </a:bodyPr>
          <a:lstStyle>
            <a:lvl1pPr marL="0" indent="0">
              <a:lnSpc>
                <a:spcPct val="100000"/>
              </a:lnSpc>
              <a:buFontTx/>
              <a:buNone/>
              <a:defRPr sz="1733" b="1" i="0"/>
            </a:lvl1pPr>
          </a:lstStyle>
          <a:p>
            <a:pPr lvl="0"/>
            <a:r>
              <a:rPr lang="en-GB" noProof="0"/>
              <a:t>Click to edit heading</a:t>
            </a:r>
          </a:p>
        </p:txBody>
      </p:sp>
      <p:sp>
        <p:nvSpPr>
          <p:cNvPr id="28" name="Text Placeholder 12"/>
          <p:cNvSpPr>
            <a:spLocks noGrp="1"/>
          </p:cNvSpPr>
          <p:nvPr>
            <p:ph type="body" sz="quarter" idx="24" hasCustomPrompt="1"/>
          </p:nvPr>
        </p:nvSpPr>
        <p:spPr>
          <a:xfrm>
            <a:off x="600860" y="4247372"/>
            <a:ext cx="5277477" cy="1511013"/>
          </a:xfrm>
          <a:prstGeom prst="rect">
            <a:avLst/>
          </a:prstGeom>
        </p:spPr>
        <p:txBody>
          <a:bodyPr lIns="0" tIns="0" rIns="0" bIns="0">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602273" y="3765471"/>
            <a:ext cx="5280403" cy="374821"/>
          </a:xfrm>
          <a:prstGeom prst="rect">
            <a:avLst/>
          </a:prstGeom>
        </p:spPr>
        <p:txBody>
          <a:bodyPr lIns="0" tIns="0" rIns="0" bIns="0" anchor="b" anchorCtr="0">
            <a:noAutofit/>
          </a:bodyPr>
          <a:lstStyle>
            <a:lvl1pPr marL="0" indent="0">
              <a:lnSpc>
                <a:spcPct val="100000"/>
              </a:lnSpc>
              <a:buFontTx/>
              <a:buNone/>
              <a:defRPr sz="1733" b="1" i="0"/>
            </a:lvl1pPr>
          </a:lstStyle>
          <a:p>
            <a:pPr lvl="0"/>
            <a:r>
              <a:rPr lang="en-GB" noProof="0"/>
              <a:t>Click to edit heading</a:t>
            </a:r>
          </a:p>
        </p:txBody>
      </p:sp>
      <p:sp>
        <p:nvSpPr>
          <p:cNvPr id="30" name="Text Placeholder 12"/>
          <p:cNvSpPr>
            <a:spLocks noGrp="1"/>
          </p:cNvSpPr>
          <p:nvPr>
            <p:ph type="body" sz="quarter" idx="26" hasCustomPrompt="1"/>
          </p:nvPr>
        </p:nvSpPr>
        <p:spPr>
          <a:xfrm>
            <a:off x="6306880" y="4247372"/>
            <a:ext cx="5277477" cy="1511013"/>
          </a:xfrm>
          <a:prstGeom prst="rect">
            <a:avLst/>
          </a:prstGeom>
        </p:spPr>
        <p:txBody>
          <a:bodyPr lIns="0" tIns="0" rIns="0" bIns="0">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6308293" y="3765471"/>
            <a:ext cx="5280403" cy="374821"/>
          </a:xfrm>
          <a:prstGeom prst="rect">
            <a:avLst/>
          </a:prstGeom>
        </p:spPr>
        <p:txBody>
          <a:bodyPr lIns="0" tIns="0" rIns="0" bIns="0" anchor="b" anchorCtr="0">
            <a:noAutofit/>
          </a:bodyPr>
          <a:lstStyle>
            <a:lvl1pPr marL="0" indent="0">
              <a:lnSpc>
                <a:spcPct val="100000"/>
              </a:lnSpc>
              <a:buFontTx/>
              <a:buNone/>
              <a:defRPr sz="1733" b="1" i="0"/>
            </a:lvl1pPr>
          </a:lstStyle>
          <a:p>
            <a:pPr lvl="0"/>
            <a:r>
              <a:rPr lang="en-GB" noProof="0"/>
              <a:t>Click to edit heading</a:t>
            </a:r>
          </a:p>
        </p:txBody>
      </p:sp>
      <p:sp>
        <p:nvSpPr>
          <p:cNvPr id="7" name="Title Placeholder 1">
            <a:extLst>
              <a:ext uri="{FF2B5EF4-FFF2-40B4-BE49-F238E27FC236}">
                <a16:creationId xmlns:a16="http://schemas.microsoft.com/office/drawing/2014/main" id="{06591B03-85E8-3FD1-1CBD-73E100DA67C2}"/>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8485179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601704" y="1771146"/>
            <a:ext cx="4061841" cy="971109"/>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5107093" y="1665377"/>
            <a:ext cx="6479680" cy="1223156"/>
          </a:xfrm>
          <a:prstGeom prst="rect">
            <a:avLst/>
          </a:prstGeom>
        </p:spPr>
        <p:txBody>
          <a:bodyPr lIns="0" tIns="0" rIns="0" bIns="0">
            <a:noAutofit/>
          </a:bodyPr>
          <a:lstStyle>
            <a:lvl1pPr>
              <a:defRPr sz="16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601704" y="3183719"/>
            <a:ext cx="4061841" cy="971109"/>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5107093" y="3077950"/>
            <a:ext cx="6479680" cy="1223156"/>
          </a:xfrm>
          <a:prstGeom prst="rect">
            <a:avLst/>
          </a:prstGeom>
        </p:spPr>
        <p:txBody>
          <a:bodyPr lIns="0" tIns="0" rIns="0" bIns="0">
            <a:noAutofit/>
          </a:bodyPr>
          <a:lstStyle>
            <a:lvl1pPr>
              <a:defRPr sz="16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601704" y="4596292"/>
            <a:ext cx="4061841" cy="971109"/>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5107093" y="4490523"/>
            <a:ext cx="6479680" cy="1223156"/>
          </a:xfrm>
          <a:prstGeom prst="rect">
            <a:avLst/>
          </a:prstGeom>
        </p:spPr>
        <p:txBody>
          <a:bodyPr lIns="0" tIns="0" rIns="0" bIns="0">
            <a:noAutofit/>
          </a:bodyPr>
          <a:lstStyle>
            <a:lvl1pPr>
              <a:defRPr sz="1600"/>
            </a:lvl1pPr>
          </a:lstStyle>
          <a:p>
            <a:pPr lvl="0"/>
            <a:r>
              <a:rPr lang="en-GB" noProof="0"/>
              <a:t>Add text here</a:t>
            </a:r>
          </a:p>
          <a:p>
            <a:pPr lvl="0"/>
            <a:endParaRPr lang="en-GB" noProof="0"/>
          </a:p>
        </p:txBody>
      </p:sp>
      <p:sp>
        <p:nvSpPr>
          <p:cNvPr id="2" name="Title Placeholder 1">
            <a:extLst>
              <a:ext uri="{FF2B5EF4-FFF2-40B4-BE49-F238E27FC236}">
                <a16:creationId xmlns:a16="http://schemas.microsoft.com/office/drawing/2014/main" id="{7AA87096-AAD9-1777-F02B-340CD52A77A3}"/>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8892417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99242" y="1567520"/>
            <a:ext cx="5265589" cy="802640"/>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9" name="Text Placeholder 12"/>
          <p:cNvSpPr>
            <a:spLocks noGrp="1"/>
          </p:cNvSpPr>
          <p:nvPr>
            <p:ph type="body" sz="quarter" idx="11" hasCustomPrompt="1"/>
          </p:nvPr>
        </p:nvSpPr>
        <p:spPr>
          <a:xfrm>
            <a:off x="594965" y="2471040"/>
            <a:ext cx="5276896" cy="1918080"/>
          </a:xfrm>
          <a:prstGeom prst="rect">
            <a:avLst/>
          </a:prstGeom>
        </p:spPr>
        <p:txBody>
          <a:bodyPr lIns="0" tIns="0" rIns="0" bIns="0">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596981" y="4568535"/>
            <a:ext cx="10995323" cy="1282231"/>
          </a:xfrm>
          <a:prstGeom prst="rect">
            <a:avLst/>
          </a:prstGeom>
        </p:spPr>
        <p:txBody>
          <a:bodyPr lIns="0" tIns="0" rIns="0" bIns="0">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6316508" y="1567520"/>
            <a:ext cx="5265589" cy="802640"/>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6312232" y="2471040"/>
            <a:ext cx="5276896" cy="1918080"/>
          </a:xfrm>
          <a:prstGeom prst="rect">
            <a:avLst/>
          </a:prstGeom>
        </p:spPr>
        <p:txBody>
          <a:bodyPr lIns="0" tIns="0" rIns="0" bIns="0">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itle Placeholder 1">
            <a:extLst>
              <a:ext uri="{FF2B5EF4-FFF2-40B4-BE49-F238E27FC236}">
                <a16:creationId xmlns:a16="http://schemas.microsoft.com/office/drawing/2014/main" id="{36E0FFB2-448F-BBE3-5C8D-9B681EE9CF89}"/>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28515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6" name="Text Placeholder 12"/>
          <p:cNvSpPr>
            <a:spLocks noGrp="1"/>
          </p:cNvSpPr>
          <p:nvPr>
            <p:ph type="body" sz="quarter" idx="21" hasCustomPrompt="1"/>
          </p:nvPr>
        </p:nvSpPr>
        <p:spPr>
          <a:xfrm>
            <a:off x="9053103" y="2471043"/>
            <a:ext cx="2524125" cy="3389236"/>
          </a:xfrm>
          <a:prstGeom prst="rect">
            <a:avLst/>
          </a:prstGeom>
        </p:spPr>
        <p:txBody>
          <a:bodyPr lIns="0" tIns="0" rIns="0" bIns="0">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599708" y="1567520"/>
            <a:ext cx="2522065" cy="802640"/>
          </a:xfrm>
          <a:prstGeom prst="rect">
            <a:avLst/>
          </a:prstGeom>
          <a:solidFill>
            <a:schemeClr val="accent3"/>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6270710" y="2471043"/>
            <a:ext cx="2524125" cy="3389236"/>
          </a:xfrm>
          <a:prstGeom prst="rect">
            <a:avLst/>
          </a:prstGeom>
        </p:spPr>
        <p:txBody>
          <a:bodyPr lIns="0" tIns="0" rIns="0" bIns="0">
            <a:noAutofit/>
          </a:bodyPr>
          <a:lstStyle>
            <a:lvl1pPr marL="0" indent="-182875">
              <a:lnSpc>
                <a:spcPct val="100000"/>
              </a:lnSpc>
              <a:buClr>
                <a:schemeClr val="accent2"/>
              </a:buClr>
              <a:defRPr sz="1200"/>
            </a:lvl1pPr>
            <a:lvl2pPr marL="359991" indent="-182395">
              <a:lnSpc>
                <a:spcPct val="100000"/>
              </a:lnSpc>
              <a:buClr>
                <a:schemeClr val="accent2"/>
              </a:buClr>
              <a:defRPr sz="1200"/>
            </a:lvl2pPr>
            <a:lvl3pPr marL="479988" indent="-182395" algn="l">
              <a:lnSpc>
                <a:spcPct val="100000"/>
              </a:lnSpc>
              <a:buClr>
                <a:schemeClr val="accent2"/>
              </a:buClr>
              <a:defRPr sz="1200"/>
            </a:lvl3pPr>
            <a:lvl4pPr marL="681583" indent="-182395">
              <a:lnSpc>
                <a:spcPct val="100000"/>
              </a:lnSpc>
              <a:buClr>
                <a:schemeClr val="accent2"/>
              </a:buClr>
              <a:defRPr sz="1200"/>
            </a:lvl4pPr>
            <a:lvl5pPr marL="873578" indent="-182395">
              <a:lnSpc>
                <a:spcPct val="100000"/>
              </a:lnSpc>
              <a:buClr>
                <a:schemeClr val="accent2"/>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3433288" y="2471043"/>
            <a:ext cx="2524125" cy="3389236"/>
          </a:xfrm>
          <a:prstGeom prst="rect">
            <a:avLst/>
          </a:prstGeom>
        </p:spPr>
        <p:txBody>
          <a:bodyPr lIns="0" tIns="0" rIns="0" bIns="0">
            <a:noAutofit/>
          </a:bodyPr>
          <a:lstStyle>
            <a:lvl1pPr marL="0" indent="-182875">
              <a:lnSpc>
                <a:spcPct val="100000"/>
              </a:lnSpc>
              <a:buClr>
                <a:schemeClr val="accent5"/>
              </a:buClr>
              <a:defRPr sz="1200"/>
            </a:lvl1pPr>
            <a:lvl2pPr marL="359991" indent="-182395">
              <a:lnSpc>
                <a:spcPct val="100000"/>
              </a:lnSpc>
              <a:buClr>
                <a:schemeClr val="accent5"/>
              </a:buClr>
              <a:defRPr sz="1200"/>
            </a:lvl2pPr>
            <a:lvl3pPr marL="479988" indent="-182395" algn="l">
              <a:lnSpc>
                <a:spcPct val="100000"/>
              </a:lnSpc>
              <a:buClr>
                <a:schemeClr val="accent5"/>
              </a:buClr>
              <a:defRPr sz="1200"/>
            </a:lvl3pPr>
            <a:lvl4pPr marL="681583" indent="-182395">
              <a:lnSpc>
                <a:spcPct val="100000"/>
              </a:lnSpc>
              <a:buClr>
                <a:schemeClr val="accent5"/>
              </a:buClr>
              <a:defRPr sz="1200"/>
            </a:lvl4pPr>
            <a:lvl5pPr marL="873578" indent="-182395">
              <a:lnSpc>
                <a:spcPct val="100000"/>
              </a:lnSpc>
              <a:buClr>
                <a:schemeClr val="accent5"/>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99315" y="2471043"/>
            <a:ext cx="2524125" cy="3389236"/>
          </a:xfrm>
          <a:prstGeom prst="rect">
            <a:avLst/>
          </a:prstGeom>
        </p:spPr>
        <p:txBody>
          <a:bodyPr lIns="0" tIns="0" rIns="0" bIns="0">
            <a:noAutofit/>
          </a:bodyPr>
          <a:lstStyle>
            <a:lvl1pPr marL="0" indent="-182875">
              <a:lnSpc>
                <a:spcPct val="100000"/>
              </a:lnSpc>
              <a:buClr>
                <a:schemeClr val="accent3"/>
              </a:buClr>
              <a:defRPr sz="1200"/>
            </a:lvl1pPr>
            <a:lvl2pPr marL="359991" indent="-182395">
              <a:lnSpc>
                <a:spcPct val="100000"/>
              </a:lnSpc>
              <a:buClr>
                <a:schemeClr val="accent3"/>
              </a:buClr>
              <a:defRPr sz="1200"/>
            </a:lvl2pPr>
            <a:lvl3pPr marL="479988" indent="-182395" algn="l">
              <a:lnSpc>
                <a:spcPct val="100000"/>
              </a:lnSpc>
              <a:buClr>
                <a:schemeClr val="accent3"/>
              </a:buClr>
              <a:defRPr sz="1200"/>
            </a:lvl3pPr>
            <a:lvl4pPr marL="681583" indent="-182395">
              <a:lnSpc>
                <a:spcPct val="100000"/>
              </a:lnSpc>
              <a:buClr>
                <a:schemeClr val="accent3"/>
              </a:buClr>
              <a:defRPr sz="1200"/>
            </a:lvl4pPr>
            <a:lvl5pPr marL="873578" indent="-182395">
              <a:lnSpc>
                <a:spcPct val="100000"/>
              </a:lnSpc>
              <a:buClr>
                <a:schemeClr val="accent3"/>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3437522" y="1567520"/>
            <a:ext cx="2522065" cy="802640"/>
          </a:xfrm>
          <a:prstGeom prst="rect">
            <a:avLst/>
          </a:prstGeom>
          <a:solidFill>
            <a:schemeClr val="accent5"/>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6267262" y="1567520"/>
            <a:ext cx="2522065" cy="802640"/>
          </a:xfrm>
          <a:prstGeom prst="rect">
            <a:avLst/>
          </a:prstGeom>
          <a:solidFill>
            <a:schemeClr val="accent2"/>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9065016" y="1567520"/>
            <a:ext cx="2522065" cy="802640"/>
          </a:xfrm>
          <a:prstGeom prst="rect">
            <a:avLst/>
          </a:prstGeom>
          <a:solidFill>
            <a:schemeClr val="accent4"/>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5" name="Title Placeholder 1">
            <a:extLst>
              <a:ext uri="{FF2B5EF4-FFF2-40B4-BE49-F238E27FC236}">
                <a16:creationId xmlns:a16="http://schemas.microsoft.com/office/drawing/2014/main" id="{E683AED9-F7C6-85EA-D98A-A617F3F2CE98}"/>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6546461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588970" y="1515565"/>
            <a:ext cx="10995801" cy="347313"/>
          </a:xfrm>
          <a:prstGeom prst="rect">
            <a:avLst/>
          </a:prstGeom>
        </p:spPr>
        <p:txBody>
          <a:bodyPr lIns="0" tIns="0" rIns="0" bIns="0">
            <a:normAutofit/>
          </a:bodyPr>
          <a:lstStyle>
            <a:lvl1pPr marL="0" indent="0">
              <a:buFontTx/>
              <a:buNone/>
              <a:defRPr sz="1867" b="1" i="0"/>
            </a:lvl1pPr>
          </a:lstStyle>
          <a:p>
            <a:pPr lvl="0"/>
            <a:r>
              <a:rPr lang="en-GB" noProof="0"/>
              <a:t>Name</a:t>
            </a:r>
          </a:p>
        </p:txBody>
      </p:sp>
      <p:sp>
        <p:nvSpPr>
          <p:cNvPr id="21" name="Text Placeholder 2"/>
          <p:cNvSpPr>
            <a:spLocks noGrp="1"/>
          </p:cNvSpPr>
          <p:nvPr>
            <p:ph idx="13" hasCustomPrompt="1"/>
          </p:nvPr>
        </p:nvSpPr>
        <p:spPr bwMode="auto">
          <a:xfrm>
            <a:off x="588970" y="1943739"/>
            <a:ext cx="10986549" cy="3693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a:lvl1pPr>
            <a:lvl2pPr marL="362991" indent="0">
              <a:buNone/>
              <a:defRPr/>
            </a:lvl2pPr>
            <a:lvl3pPr marL="718182" indent="0">
              <a:buNone/>
              <a:defRPr/>
            </a:lvl3pPr>
            <a:lvl4pPr marL="1096802" indent="0">
              <a:buNone/>
              <a:defRPr/>
            </a:lvl4pPr>
            <a:lvl5pPr marL="1384795" indent="0">
              <a:buNone/>
              <a:defRPr/>
            </a:lvl5pPr>
          </a:lstStyle>
          <a:p>
            <a:r>
              <a:rPr lang="en-GB" noProof="0"/>
              <a:t>Title</a:t>
            </a:r>
          </a:p>
        </p:txBody>
      </p:sp>
      <p:sp>
        <p:nvSpPr>
          <p:cNvPr id="22" name="Text Placeholder 2"/>
          <p:cNvSpPr>
            <a:spLocks noGrp="1"/>
          </p:cNvSpPr>
          <p:nvPr>
            <p:ph idx="16" hasCustomPrompt="1"/>
          </p:nvPr>
        </p:nvSpPr>
        <p:spPr bwMode="auto">
          <a:xfrm>
            <a:off x="993052" y="3887049"/>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23" name="Text Placeholder 2"/>
          <p:cNvSpPr>
            <a:spLocks noGrp="1"/>
          </p:cNvSpPr>
          <p:nvPr>
            <p:ph idx="17" hasCustomPrompt="1"/>
          </p:nvPr>
        </p:nvSpPr>
        <p:spPr bwMode="auto">
          <a:xfrm>
            <a:off x="588970" y="5413418"/>
            <a:ext cx="10986549" cy="38487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b="1" i="0">
                <a:solidFill>
                  <a:schemeClr val="accent1"/>
                </a:solidFill>
              </a:defRPr>
            </a:lvl1pPr>
            <a:lvl2pPr marL="362991" indent="0">
              <a:buNone/>
              <a:defRPr/>
            </a:lvl2pPr>
            <a:lvl3pPr marL="718182" indent="0">
              <a:buNone/>
              <a:defRPr/>
            </a:lvl3pPr>
            <a:lvl4pPr marL="1096802" indent="0">
              <a:buNone/>
              <a:defRPr/>
            </a:lvl4pPr>
            <a:lvl5pPr marL="1384795" indent="0">
              <a:buNone/>
              <a:defRPr/>
            </a:lvl5pPr>
          </a:lstStyle>
          <a:p>
            <a:pPr lvl="0"/>
            <a:r>
              <a:rPr lang="en-GB" noProof="0"/>
              <a:t>www.gs1.org</a:t>
            </a:r>
          </a:p>
        </p:txBody>
      </p:sp>
      <p:sp>
        <p:nvSpPr>
          <p:cNvPr id="24" name="Text Placeholder 2"/>
          <p:cNvSpPr>
            <a:spLocks noGrp="1"/>
          </p:cNvSpPr>
          <p:nvPr>
            <p:ph idx="19" hasCustomPrompt="1"/>
          </p:nvPr>
        </p:nvSpPr>
        <p:spPr bwMode="auto">
          <a:xfrm>
            <a:off x="993052" y="4895059"/>
            <a:ext cx="10582467" cy="3368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name@gs1.org</a:t>
            </a:r>
          </a:p>
        </p:txBody>
      </p:sp>
      <p:sp>
        <p:nvSpPr>
          <p:cNvPr id="27" name="Text Placeholder 2"/>
          <p:cNvSpPr>
            <a:spLocks noGrp="1"/>
          </p:cNvSpPr>
          <p:nvPr>
            <p:ph idx="22" hasCustomPrompt="1"/>
          </p:nvPr>
        </p:nvSpPr>
        <p:spPr bwMode="auto">
          <a:xfrm>
            <a:off x="588970" y="2374946"/>
            <a:ext cx="10986549" cy="13908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b="0" baseline="0"/>
            </a:lvl1pPr>
            <a:lvl2pPr marL="362991" indent="0">
              <a:buNone/>
              <a:defRPr/>
            </a:lvl2pPr>
            <a:lvl3pPr marL="718182" indent="0">
              <a:buNone/>
              <a:defRPr/>
            </a:lvl3pPr>
            <a:lvl4pPr marL="1096802" indent="0">
              <a:buNone/>
              <a:defRPr/>
            </a:lvl4pPr>
            <a:lvl5pPr marL="1384795" indent="0">
              <a:buNone/>
              <a:defRPr/>
            </a:lvl5pPr>
          </a:lstStyle>
          <a:p>
            <a:pPr lvl="0"/>
            <a:r>
              <a:rPr lang="en-GB" noProof="0"/>
              <a:t>GS1 Address</a:t>
            </a:r>
          </a:p>
        </p:txBody>
      </p:sp>
      <p:sp>
        <p:nvSpPr>
          <p:cNvPr id="32" name="Text Placeholder 2"/>
          <p:cNvSpPr>
            <a:spLocks noGrp="1"/>
          </p:cNvSpPr>
          <p:nvPr>
            <p:ph idx="27" hasCustomPrompt="1"/>
          </p:nvPr>
        </p:nvSpPr>
        <p:spPr bwMode="auto">
          <a:xfrm>
            <a:off x="993052" y="4222784"/>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33" name="Text Placeholder 2"/>
          <p:cNvSpPr>
            <a:spLocks noGrp="1"/>
          </p:cNvSpPr>
          <p:nvPr>
            <p:ph idx="28" hasCustomPrompt="1"/>
          </p:nvPr>
        </p:nvSpPr>
        <p:spPr bwMode="auto">
          <a:xfrm>
            <a:off x="993052" y="4558518"/>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592195" y="3889056"/>
            <a:ext cx="388627" cy="354563"/>
          </a:xfrm>
          <a:prstGeom prst="rect">
            <a:avLst/>
          </a:prstGeom>
        </p:spPr>
        <p:txBody>
          <a:bodyPr vert="horz" lIns="0" tIns="0" rIns="0" bIns="0"/>
          <a:lstStyle>
            <a:lvl1pPr marL="98998" indent="0" algn="l">
              <a:buNone/>
              <a:defRPr sz="1600" b="1" i="0"/>
            </a:lvl1pPr>
          </a:lstStyle>
          <a:p>
            <a:pPr lvl="0"/>
            <a:r>
              <a:rPr lang="en-GB" noProof="0"/>
              <a:t>T</a:t>
            </a:r>
          </a:p>
        </p:txBody>
      </p:sp>
      <p:sp>
        <p:nvSpPr>
          <p:cNvPr id="42" name="Text Placeholder 40"/>
          <p:cNvSpPr>
            <a:spLocks noGrp="1"/>
          </p:cNvSpPr>
          <p:nvPr>
            <p:ph type="body" sz="quarter" idx="34" hasCustomPrompt="1"/>
          </p:nvPr>
        </p:nvSpPr>
        <p:spPr>
          <a:xfrm>
            <a:off x="592195" y="4221377"/>
            <a:ext cx="388627" cy="354563"/>
          </a:xfrm>
          <a:prstGeom prst="rect">
            <a:avLst/>
          </a:prstGeom>
        </p:spPr>
        <p:txBody>
          <a:bodyPr vert="horz" lIns="0" tIns="0" rIns="0" bIns="0"/>
          <a:lstStyle>
            <a:lvl1pPr marL="98998" indent="0" algn="l">
              <a:buNone/>
              <a:defRPr sz="1600" b="1" i="0"/>
            </a:lvl1pPr>
          </a:lstStyle>
          <a:p>
            <a:pPr lvl="0"/>
            <a:r>
              <a:rPr lang="en-GB" noProof="0"/>
              <a:t>D</a:t>
            </a:r>
          </a:p>
        </p:txBody>
      </p:sp>
      <p:sp>
        <p:nvSpPr>
          <p:cNvPr id="43" name="Text Placeholder 40"/>
          <p:cNvSpPr>
            <a:spLocks noGrp="1"/>
          </p:cNvSpPr>
          <p:nvPr>
            <p:ph type="body" sz="quarter" idx="35" hasCustomPrompt="1"/>
          </p:nvPr>
        </p:nvSpPr>
        <p:spPr>
          <a:xfrm>
            <a:off x="592195" y="4557932"/>
            <a:ext cx="388627" cy="354563"/>
          </a:xfrm>
          <a:prstGeom prst="rect">
            <a:avLst/>
          </a:prstGeom>
        </p:spPr>
        <p:txBody>
          <a:bodyPr vert="horz" lIns="0" tIns="0" rIns="0" bIns="0"/>
          <a:lstStyle>
            <a:lvl1pPr marL="98998" indent="0" algn="l">
              <a:buNone/>
              <a:defRPr sz="1600" b="1" i="0"/>
            </a:lvl1pPr>
          </a:lstStyle>
          <a:p>
            <a:pPr lvl="0"/>
            <a:r>
              <a:rPr lang="en-GB" noProof="0"/>
              <a:t>M</a:t>
            </a:r>
          </a:p>
        </p:txBody>
      </p:sp>
      <p:sp>
        <p:nvSpPr>
          <p:cNvPr id="44" name="Text Placeholder 40"/>
          <p:cNvSpPr>
            <a:spLocks noGrp="1"/>
          </p:cNvSpPr>
          <p:nvPr>
            <p:ph type="body" sz="quarter" idx="36" hasCustomPrompt="1"/>
          </p:nvPr>
        </p:nvSpPr>
        <p:spPr>
          <a:xfrm>
            <a:off x="592195" y="4894839"/>
            <a:ext cx="388627" cy="354563"/>
          </a:xfrm>
          <a:prstGeom prst="rect">
            <a:avLst/>
          </a:prstGeom>
        </p:spPr>
        <p:txBody>
          <a:bodyPr vert="horz" lIns="0" tIns="0" rIns="0" bIns="0"/>
          <a:lstStyle>
            <a:lvl1pPr marL="98998" indent="0" algn="l">
              <a:buNone/>
              <a:defRPr sz="1600" b="1" i="0"/>
            </a:lvl1pPr>
          </a:lstStyle>
          <a:p>
            <a:pPr lvl="0"/>
            <a:r>
              <a:rPr lang="en-GB" noProof="0"/>
              <a:t>E</a:t>
            </a:r>
          </a:p>
        </p:txBody>
      </p:sp>
      <p:sp>
        <p:nvSpPr>
          <p:cNvPr id="2" name="Title Placeholder 1">
            <a:extLst>
              <a:ext uri="{FF2B5EF4-FFF2-40B4-BE49-F238E27FC236}">
                <a16:creationId xmlns:a16="http://schemas.microsoft.com/office/drawing/2014/main" id="{6D025EEC-96AF-FCC6-923E-D1978B0F1DFD}"/>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5498969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_Bottom Whit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E44536-7F34-75F4-522E-D41D08F32023}"/>
              </a:ext>
            </a:extLst>
          </p:cNvPr>
          <p:cNvGraphicFramePr>
            <a:graphicFrameLocks noChangeAspect="1"/>
          </p:cNvGraphicFramePr>
          <p:nvPr userDrawn="1">
            <p:custDataLst>
              <p:tags r:id="rId1"/>
            </p:custDataLst>
            <p:extLst>
              <p:ext uri="{D42A27DB-BD31-4B8C-83A1-F6EECF244321}">
                <p14:modId xmlns:p14="http://schemas.microsoft.com/office/powerpoint/2010/main" val="171135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5" progId="TCLayout.ActiveDocument.1">
                  <p:embed/>
                </p:oleObj>
              </mc:Choice>
              <mc:Fallback>
                <p:oleObj name="think-cell Slide" r:id="rId3" imgW="606" imgH="605" progId="TCLayout.ActiveDocument.1">
                  <p:embed/>
                  <p:pic>
                    <p:nvPicPr>
                      <p:cNvPr id="5" name="think-cell data - do not delete" hidden="1">
                        <a:extLst>
                          <a:ext uri="{FF2B5EF4-FFF2-40B4-BE49-F238E27FC236}">
                            <a16:creationId xmlns:a16="http://schemas.microsoft.com/office/drawing/2014/main" id="{B7E44536-7F34-75F4-522E-D41D08F32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2" name="Title Placeholder 1">
            <a:extLst>
              <a:ext uri="{FF2B5EF4-FFF2-40B4-BE49-F238E27FC236}">
                <a16:creationId xmlns:a16="http://schemas.microsoft.com/office/drawing/2014/main" id="{FDF2FBDC-CCA1-5626-CC79-517AC87142C8}"/>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2400"/>
            </a:lvl1pPr>
          </a:lstStyle>
          <a:p>
            <a:pPr lvl="0"/>
            <a:r>
              <a:rPr lang="en-GB" noProof="0"/>
              <a:t>Title goes here and can be two lines</a:t>
            </a:r>
          </a:p>
        </p:txBody>
      </p:sp>
    </p:spTree>
    <p:extLst>
      <p:ext uri="{BB962C8B-B14F-4D97-AF65-F5344CB8AC3E}">
        <p14:creationId xmlns:p14="http://schemas.microsoft.com/office/powerpoint/2010/main" val="32468217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Header Orang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AFC5ED-962C-2977-0683-D3AD53B015B1}"/>
              </a:ext>
            </a:extLst>
          </p:cNvPr>
          <p:cNvGraphicFramePr>
            <a:graphicFrameLocks noChangeAspect="1"/>
          </p:cNvGraphicFramePr>
          <p:nvPr userDrawn="1">
            <p:custDataLst>
              <p:tags r:id="rId1"/>
            </p:custDataLst>
            <p:extLst>
              <p:ext uri="{D42A27DB-BD31-4B8C-83A1-F6EECF244321}">
                <p14:modId xmlns:p14="http://schemas.microsoft.com/office/powerpoint/2010/main" val="296655838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think-cell data - do not delete" hidden="1">
                        <a:extLst>
                          <a:ext uri="{FF2B5EF4-FFF2-40B4-BE49-F238E27FC236}">
                            <a16:creationId xmlns:a16="http://schemas.microsoft.com/office/drawing/2014/main" id="{AEAFC5ED-962C-2977-0683-D3AD53B015B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defTabSz="1219020" fontAlgn="base">
              <a:spcAft>
                <a:spcPct val="0"/>
              </a:spcAft>
              <a:defRPr/>
            </a:pPr>
            <a:fld id="{4472AB7F-E8D0-4874-A9B8-335B68DC5F05}" type="slidenum">
              <a:rPr lang="en-GB" smtClean="0"/>
              <a:pPr defTabSz="1219020" fontAlgn="base">
                <a:spcAft>
                  <a:spcPct val="0"/>
                </a:spcAft>
                <a:defRPr/>
              </a:pPr>
              <a:t>‹#›</a:t>
            </a:fld>
            <a:endParaRPr lang="en-GB"/>
          </a:p>
        </p:txBody>
      </p:sp>
      <p:sp>
        <p:nvSpPr>
          <p:cNvPr id="5" name="Rectangle 4"/>
          <p:cNvSpPr/>
          <p:nvPr/>
        </p:nvSpPr>
        <p:spPr>
          <a:xfrm>
            <a:off x="0" y="0"/>
            <a:ext cx="12192000" cy="6055056"/>
          </a:xfrm>
          <a:prstGeom prst="rect">
            <a:avLst/>
          </a:prstGeom>
          <a:solidFill>
            <a:schemeClr val="tx2"/>
          </a:solidFill>
          <a:ln w="25400">
            <a:noFill/>
          </a:ln>
          <a:effectLst/>
        </p:spPr>
        <p:style>
          <a:lnRef idx="1">
            <a:schemeClr val="accent1"/>
          </a:lnRef>
          <a:fillRef idx="3">
            <a:schemeClr val="accent1"/>
          </a:fillRef>
          <a:effectRef idx="2">
            <a:schemeClr val="accent1"/>
          </a:effectRef>
          <a:fontRef idx="minor">
            <a:schemeClr val="lt1"/>
          </a:fontRef>
        </p:style>
        <p:txBody>
          <a:bodyPr rtlCol="0" anchor="t"/>
          <a:lstStyle/>
          <a:p>
            <a:pPr marR="0" lvl="0" indent="0" algn="ctr" rtl="0" fontAlgn="auto">
              <a:lnSpc>
                <a:spcPct val="100000"/>
              </a:lnSpc>
              <a:spcBef>
                <a:spcPts val="0"/>
              </a:spcBef>
              <a:spcAft>
                <a:spcPts val="300"/>
              </a:spcAft>
              <a:buClrTx/>
              <a:buSzTx/>
              <a:buFontTx/>
              <a:buNone/>
              <a:tabLst/>
            </a:pPr>
            <a:endParaRPr kumimoji="0" lang="en-GB" sz="1400" b="1" i="0" u="none" strike="noStrike" cap="none" spc="0" normalizeH="0" baseline="0" noProof="0">
              <a:ln>
                <a:noFill/>
              </a:ln>
              <a:solidFill>
                <a:prstClr val="white"/>
              </a:solidFill>
              <a:effectLst/>
              <a:uLnTx/>
              <a:uFillTx/>
              <a:latin typeface="Verdana"/>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6" indent="0" rtl="0">
              <a:lnSpc>
                <a:spcPct val="100000"/>
              </a:lnSpc>
              <a:buNone/>
              <a:defRPr sz="4000" b="1">
                <a:solidFill>
                  <a:schemeClr val="bg1"/>
                </a:solidFill>
              </a:defRPr>
            </a:lvl1pPr>
            <a:lvl2pPr marL="362982" indent="0">
              <a:buNone/>
              <a:defRPr>
                <a:solidFill>
                  <a:schemeClr val="bg1"/>
                </a:solidFill>
              </a:defRPr>
            </a:lvl2pPr>
            <a:lvl3pPr marL="718165" indent="0">
              <a:buNone/>
              <a:defRPr>
                <a:solidFill>
                  <a:schemeClr val="bg1"/>
                </a:solidFill>
              </a:defRPr>
            </a:lvl3pPr>
            <a:lvl4pPr marL="1096775" indent="0">
              <a:buNone/>
              <a:defRPr>
                <a:solidFill>
                  <a:schemeClr val="bg1"/>
                </a:solidFill>
              </a:defRPr>
            </a:lvl4pPr>
            <a:lvl5pPr marL="1384760" indent="0">
              <a:buNone/>
              <a:defRPr>
                <a:solidFill>
                  <a:schemeClr val="bg1"/>
                </a:solidFill>
              </a:defRPr>
            </a:lvl5pPr>
          </a:lstStyle>
          <a:p>
            <a:pPr lvl="0"/>
            <a:r>
              <a:rPr lang="en-GB" noProof="0"/>
              <a:t>Click to edit header</a:t>
            </a:r>
          </a:p>
        </p:txBody>
      </p:sp>
    </p:spTree>
    <p:extLst>
      <p:ext uri="{BB962C8B-B14F-4D97-AF65-F5344CB8AC3E}">
        <p14:creationId xmlns:p14="http://schemas.microsoft.com/office/powerpoint/2010/main" val="18781784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Blu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5" name="Title Placeholder 1">
            <a:extLst>
              <a:ext uri="{FF2B5EF4-FFF2-40B4-BE49-F238E27FC236}">
                <a16:creationId xmlns:a16="http://schemas.microsoft.com/office/drawing/2014/main" id="{0B4F1D30-58C0-2439-3C9F-B9620FD59320}"/>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39949922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16" name="Text Placeholder 5"/>
          <p:cNvSpPr>
            <a:spLocks noGrp="1"/>
          </p:cNvSpPr>
          <p:nvPr>
            <p:ph type="body" sz="quarter" idx="15" hasCustomPrompt="1"/>
          </p:nvPr>
        </p:nvSpPr>
        <p:spPr>
          <a:xfrm>
            <a:off x="606661" y="1455429"/>
            <a:ext cx="5223516" cy="737544"/>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
        <p:nvSpPr>
          <p:cNvPr id="18" name="Text Placeholder 12"/>
          <p:cNvSpPr>
            <a:spLocks noGrp="1"/>
          </p:cNvSpPr>
          <p:nvPr>
            <p:ph type="body" sz="quarter" idx="17" hasCustomPrompt="1"/>
          </p:nvPr>
        </p:nvSpPr>
        <p:spPr>
          <a:xfrm>
            <a:off x="607626" y="2311178"/>
            <a:ext cx="5221380" cy="3560455"/>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6362700" y="1455429"/>
            <a:ext cx="5224363" cy="737544"/>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
        <p:nvSpPr>
          <p:cNvPr id="12" name="Text Placeholder 12"/>
          <p:cNvSpPr>
            <a:spLocks noGrp="1"/>
          </p:cNvSpPr>
          <p:nvPr>
            <p:ph type="body" sz="quarter" idx="20" hasCustomPrompt="1"/>
          </p:nvPr>
        </p:nvSpPr>
        <p:spPr>
          <a:xfrm>
            <a:off x="6364513" y="2311178"/>
            <a:ext cx="5221380" cy="3560455"/>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11263314" y="6346174"/>
            <a:ext cx="330047" cy="200260"/>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3" name="Title Placeholder 1">
            <a:extLst>
              <a:ext uri="{FF2B5EF4-FFF2-40B4-BE49-F238E27FC236}">
                <a16:creationId xmlns:a16="http://schemas.microsoft.com/office/drawing/2014/main" id="{AA7A2BA9-2AFB-105E-5227-42287B480BBC}"/>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23246467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BF8AB1-F8DE-78DA-544A-21F4DE6000E3}"/>
              </a:ext>
            </a:extLst>
          </p:cNvPr>
          <p:cNvGraphicFramePr>
            <a:graphicFrameLocks noChangeAspect="1"/>
          </p:cNvGraphicFramePr>
          <p:nvPr userDrawn="1">
            <p:custDataLst>
              <p:tags r:id="rId1"/>
            </p:custDataLst>
            <p:extLst>
              <p:ext uri="{D42A27DB-BD31-4B8C-83A1-F6EECF244321}">
                <p14:modId xmlns:p14="http://schemas.microsoft.com/office/powerpoint/2010/main" val="155694046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think-cell data - do not delete" hidden="1">
                        <a:extLst>
                          <a:ext uri="{FF2B5EF4-FFF2-40B4-BE49-F238E27FC236}">
                            <a16:creationId xmlns:a16="http://schemas.microsoft.com/office/drawing/2014/main" id="{FFBF8AB1-F8DE-78DA-544A-21F4DE6000E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2400">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3" name="Rectangle 2">
            <a:extLst>
              <a:ext uri="{FF2B5EF4-FFF2-40B4-BE49-F238E27FC236}">
                <a16:creationId xmlns:a16="http://schemas.microsoft.com/office/drawing/2014/main" id="{6C9F29DD-EAEB-A5E7-C34F-187811F7E121}"/>
              </a:ext>
            </a:extLst>
          </p:cNvPr>
          <p:cNvSpPr/>
          <p:nvPr userDrawn="1"/>
        </p:nvSpPr>
        <p:spPr>
          <a:xfrm>
            <a:off x="0" y="4048125"/>
            <a:ext cx="12192000" cy="280987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spcAft>
                <a:spcPts val="300"/>
              </a:spcAft>
            </a:pPr>
            <a:endParaRPr lang="en-GB" sz="700" b="1">
              <a:solidFill>
                <a:schemeClr val="tx1"/>
              </a:solidFill>
            </a:endParaRPr>
          </a:p>
        </p:txBody>
      </p:sp>
    </p:spTree>
    <p:extLst>
      <p:ext uri="{BB962C8B-B14F-4D97-AF65-F5344CB8AC3E}">
        <p14:creationId xmlns:p14="http://schemas.microsoft.com/office/powerpoint/2010/main" val="30500372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1"/>
            <a:ext cx="10995323" cy="1161163"/>
          </a:xfrm>
          <a:prstGeom prst="rect">
            <a:avLst/>
          </a:prstGeom>
        </p:spPr>
        <p:txBody>
          <a:bodyPr lIns="0" tIns="0" rIns="0" bIns="0">
            <a:noAutofit/>
          </a:bodyPr>
          <a:lstStyle>
            <a:lvl1pPr marL="0" marR="0" indent="0" algn="l" defTabSz="609510"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marL="0" marR="0" lvl="0" indent="0" algn="l" defTabSz="609510"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s three lines or fewer may go in this text box. For text over three lines, adjust the size of this box.</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2" y="2743203"/>
            <a:ext cx="10988943" cy="3128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tle Placeholder 1">
            <a:extLst>
              <a:ext uri="{FF2B5EF4-FFF2-40B4-BE49-F238E27FC236}">
                <a16:creationId xmlns:a16="http://schemas.microsoft.com/office/drawing/2014/main" id="{3818827E-53E2-F6FA-6E3A-19226DB38BEA}"/>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9821675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Photo Left - with Caption">
    <p:spTree>
      <p:nvGrpSpPr>
        <p:cNvPr id="1" name=""/>
        <p:cNvGrpSpPr/>
        <p:nvPr/>
      </p:nvGrpSpPr>
      <p:grpSpPr>
        <a:xfrm>
          <a:off x="0" y="0"/>
          <a:ext cx="0" cy="0"/>
          <a:chOff x="0" y="0"/>
          <a:chExt cx="0" cy="0"/>
        </a:xfrm>
      </p:grpSpPr>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Picture Placeholder 4"/>
          <p:cNvSpPr>
            <a:spLocks noGrp="1"/>
          </p:cNvSpPr>
          <p:nvPr>
            <p:ph type="pic" sz="quarter" idx="14" hasCustomPrompt="1"/>
          </p:nvPr>
        </p:nvSpPr>
        <p:spPr>
          <a:xfrm>
            <a:off x="596900" y="1641601"/>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Rectangle 3"/>
          <p:cNvSpPr/>
          <p:nvPr userDrawn="1"/>
        </p:nvSpPr>
        <p:spPr>
          <a:xfrm>
            <a:off x="596902"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algn="l">
              <a:lnSpc>
                <a:spcPct val="110000"/>
              </a:lnSpc>
            </a:pPr>
            <a:endParaRPr lang="en-GB" sz="1200" b="0" i="1" noProof="0">
              <a:solidFill>
                <a:schemeClr val="bg1"/>
              </a:solidFill>
            </a:endParaRPr>
          </a:p>
        </p:txBody>
      </p:sp>
      <p:sp>
        <p:nvSpPr>
          <p:cNvPr id="13"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6" marR="0" indent="0" algn="l" defTabSz="609510"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6" marR="0" lvl="0" indent="0" algn="l" defTabSz="609510"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a:solidFill>
                  <a:schemeClr val="bg1"/>
                </a:solidFill>
              </a:rPr>
              <a:t>Caption or</a:t>
            </a:r>
            <a:r>
              <a:rPr lang="en-GB" sz="1467" b="0" i="1" baseline="0" noProof="0">
                <a:solidFill>
                  <a:schemeClr val="bg1"/>
                </a:solidFill>
              </a:rPr>
              <a:t> credit for a photo could be put in this space. </a:t>
            </a:r>
            <a:r>
              <a:rPr lang="en-GB" sz="1467" b="0" i="1" noProof="0">
                <a:solidFill>
                  <a:schemeClr val="bg1"/>
                </a:solidFill>
              </a:rPr>
              <a:t>You may adjust the height of this box</a:t>
            </a:r>
            <a:r>
              <a:rPr lang="en-GB" sz="1467" b="0" i="1" baseline="0" noProof="0">
                <a:solidFill>
                  <a:schemeClr val="bg1"/>
                </a:solidFill>
              </a:rPr>
              <a:t> to accommodate more or less text. Suggested number of lines of text is no less than two and no more than four.</a:t>
            </a:r>
            <a:endParaRPr lang="en-GB" sz="1467" b="0" i="1" noProof="0">
              <a:solidFill>
                <a:schemeClr val="bg1"/>
              </a:solidFill>
            </a:endParaRPr>
          </a:p>
        </p:txBody>
      </p:sp>
      <p:sp>
        <p:nvSpPr>
          <p:cNvPr id="3" name="Title Placeholder 1">
            <a:extLst>
              <a:ext uri="{FF2B5EF4-FFF2-40B4-BE49-F238E27FC236}">
                <a16:creationId xmlns:a16="http://schemas.microsoft.com/office/drawing/2014/main" id="{3FAD04EC-FFA1-F65D-4AE7-87DAAE63E8C0}"/>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7" name="Text Placeholder 12">
            <a:extLst>
              <a:ext uri="{FF2B5EF4-FFF2-40B4-BE49-F238E27FC236}">
                <a16:creationId xmlns:a16="http://schemas.microsoft.com/office/drawing/2014/main" id="{8345CDC8-4D32-194E-D61E-861B1DD1D49F}"/>
              </a:ext>
            </a:extLst>
          </p:cNvPr>
          <p:cNvSpPr>
            <a:spLocks noGrp="1"/>
          </p:cNvSpPr>
          <p:nvPr>
            <p:ph type="body" sz="quarter" idx="20" hasCustomPrompt="1"/>
          </p:nvPr>
        </p:nvSpPr>
        <p:spPr>
          <a:xfrm>
            <a:off x="6168484" y="2419235"/>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5">
            <a:extLst>
              <a:ext uri="{FF2B5EF4-FFF2-40B4-BE49-F238E27FC236}">
                <a16:creationId xmlns:a16="http://schemas.microsoft.com/office/drawing/2014/main" id="{FA13186E-3A14-1188-0195-D96B726EC48D}"/>
              </a:ext>
            </a:extLst>
          </p:cNvPr>
          <p:cNvSpPr>
            <a:spLocks noGrp="1"/>
          </p:cNvSpPr>
          <p:nvPr>
            <p:ph type="body" sz="quarter" idx="19" hasCustomPrompt="1"/>
          </p:nvPr>
        </p:nvSpPr>
        <p:spPr>
          <a:xfrm>
            <a:off x="6166681" y="1643071"/>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15032882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Photo Right - with Caption">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3" name="Picture Placeholder 4"/>
          <p:cNvSpPr>
            <a:spLocks noGrp="1"/>
          </p:cNvSpPr>
          <p:nvPr>
            <p:ph type="pic" sz="quarter" idx="14" hasCustomPrompt="1"/>
          </p:nvPr>
        </p:nvSpPr>
        <p:spPr>
          <a:xfrm>
            <a:off x="6394077" y="1641601"/>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24" name="Rectangle 23"/>
          <p:cNvSpPr/>
          <p:nvPr userDrawn="1"/>
        </p:nvSpPr>
        <p:spPr>
          <a:xfrm>
            <a:off x="6394078"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algn="l">
              <a:lnSpc>
                <a:spcPct val="110000"/>
              </a:lnSpc>
            </a:pPr>
            <a:endParaRPr lang="en-GB" sz="1200" b="0" i="1" noProof="0">
              <a:solidFill>
                <a:schemeClr val="bg1"/>
              </a:solidFill>
            </a:endParaRPr>
          </a:p>
        </p:txBody>
      </p:sp>
      <p:sp>
        <p:nvSpPr>
          <p:cNvPr id="9" name="Text Placeholder 6"/>
          <p:cNvSpPr>
            <a:spLocks noGrp="1"/>
          </p:cNvSpPr>
          <p:nvPr>
            <p:ph type="body" sz="quarter" idx="22" hasCustomPrompt="1"/>
          </p:nvPr>
        </p:nvSpPr>
        <p:spPr>
          <a:xfrm>
            <a:off x="6502400" y="4773681"/>
            <a:ext cx="4978400" cy="812800"/>
          </a:xfrm>
          <a:prstGeom prst="rect">
            <a:avLst/>
          </a:prstGeom>
        </p:spPr>
        <p:txBody>
          <a:bodyPr vert="horz" lIns="0" tIns="0" rIns="0" bIns="0"/>
          <a:lstStyle>
            <a:lvl1pPr marL="98996" marR="0" indent="0" algn="l" defTabSz="609510"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6" marR="0" lvl="0" indent="0" algn="l" defTabSz="609510"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a:solidFill>
                  <a:schemeClr val="bg1"/>
                </a:solidFill>
              </a:rPr>
              <a:t>Caption or</a:t>
            </a:r>
            <a:r>
              <a:rPr lang="en-GB" sz="1467" b="0" i="1" baseline="0" noProof="0">
                <a:solidFill>
                  <a:schemeClr val="bg1"/>
                </a:solidFill>
              </a:rPr>
              <a:t> credit for a photo could be put in this space. </a:t>
            </a:r>
            <a:r>
              <a:rPr lang="en-GB" sz="1467" b="0" i="1" noProof="0">
                <a:solidFill>
                  <a:schemeClr val="bg1"/>
                </a:solidFill>
              </a:rPr>
              <a:t>You may adjust the height of this box</a:t>
            </a:r>
            <a:r>
              <a:rPr lang="en-GB" sz="1467" b="0" i="1" baseline="0" noProof="0">
                <a:solidFill>
                  <a:schemeClr val="bg1"/>
                </a:solidFill>
              </a:rPr>
              <a:t> to accommodate more or less text. Suggested number of lines of text is no less than two and no more than four.</a:t>
            </a:r>
            <a:endParaRPr lang="en-GB" sz="1467" b="0" i="1" noProof="0">
              <a:solidFill>
                <a:schemeClr val="bg1"/>
              </a:solidFill>
            </a:endParaRPr>
          </a:p>
        </p:txBody>
      </p:sp>
      <p:sp>
        <p:nvSpPr>
          <p:cNvPr id="3" name="Title Placeholder 1">
            <a:extLst>
              <a:ext uri="{FF2B5EF4-FFF2-40B4-BE49-F238E27FC236}">
                <a16:creationId xmlns:a16="http://schemas.microsoft.com/office/drawing/2014/main" id="{CA3ED416-1639-D0A9-3AF4-320D1CD1A757}"/>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6" name="Text Placeholder 12">
            <a:extLst>
              <a:ext uri="{FF2B5EF4-FFF2-40B4-BE49-F238E27FC236}">
                <a16:creationId xmlns:a16="http://schemas.microsoft.com/office/drawing/2014/main" id="{EEAEE1BA-23C2-918F-B8ED-869D63EA0223}"/>
              </a:ext>
            </a:extLst>
          </p:cNvPr>
          <p:cNvSpPr>
            <a:spLocks noGrp="1"/>
          </p:cNvSpPr>
          <p:nvPr>
            <p:ph type="body" sz="quarter" idx="20" hasCustomPrompt="1"/>
          </p:nvPr>
        </p:nvSpPr>
        <p:spPr>
          <a:xfrm>
            <a:off x="598444" y="2419235"/>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5">
            <a:extLst>
              <a:ext uri="{FF2B5EF4-FFF2-40B4-BE49-F238E27FC236}">
                <a16:creationId xmlns:a16="http://schemas.microsoft.com/office/drawing/2014/main" id="{39DAD6E9-9ECB-849B-340D-03F88DD10A43}"/>
              </a:ext>
            </a:extLst>
          </p:cNvPr>
          <p:cNvSpPr>
            <a:spLocks noGrp="1"/>
          </p:cNvSpPr>
          <p:nvPr>
            <p:ph type="body" sz="quarter" idx="19" hasCustomPrompt="1"/>
          </p:nvPr>
        </p:nvSpPr>
        <p:spPr>
          <a:xfrm>
            <a:off x="596640" y="1643071"/>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33341083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99243" y="1567520"/>
            <a:ext cx="5265589" cy="802640"/>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9" name="Text Placeholder 12"/>
          <p:cNvSpPr>
            <a:spLocks noGrp="1"/>
          </p:cNvSpPr>
          <p:nvPr>
            <p:ph type="body" sz="quarter" idx="11" hasCustomPrompt="1"/>
          </p:nvPr>
        </p:nvSpPr>
        <p:spPr>
          <a:xfrm>
            <a:off x="594965" y="2471040"/>
            <a:ext cx="5276896" cy="1918080"/>
          </a:xfrm>
          <a:prstGeom prst="rect">
            <a:avLst/>
          </a:prstGeom>
        </p:spPr>
        <p:txBody>
          <a:bodyPr lIns="0" tIns="0" rIns="0" bIns="0">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596981" y="4568537"/>
            <a:ext cx="10995323" cy="1282231"/>
          </a:xfrm>
          <a:prstGeom prst="rect">
            <a:avLst/>
          </a:prstGeom>
        </p:spPr>
        <p:txBody>
          <a:bodyPr lIns="0" tIns="0" rIns="0" bIns="0">
            <a:noAutofit/>
          </a:bodyPr>
          <a:lstStyle>
            <a:lvl1pPr marL="0" marR="0" indent="0" algn="l" defTabSz="609510"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6316508" y="1567520"/>
            <a:ext cx="5265589" cy="802640"/>
          </a:xfrm>
          <a:prstGeom prst="rect">
            <a:avLst/>
          </a:prstGeom>
          <a:solidFill>
            <a:schemeClr val="tx2"/>
          </a:solidFill>
        </p:spPr>
        <p:txBody>
          <a:bodyPr lIns="0" tIns="0" rIns="0" bIns="0"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6312232" y="2471040"/>
            <a:ext cx="5276896" cy="1918080"/>
          </a:xfrm>
          <a:prstGeom prst="rect">
            <a:avLst/>
          </a:prstGeom>
        </p:spPr>
        <p:txBody>
          <a:bodyPr lIns="0" tIns="0" rIns="0" bIns="0">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itle Placeholder 1">
            <a:extLst>
              <a:ext uri="{FF2B5EF4-FFF2-40B4-BE49-F238E27FC236}">
                <a16:creationId xmlns:a16="http://schemas.microsoft.com/office/drawing/2014/main" id="{36E0FFB2-448F-BBE3-5C8D-9B681EE9CF89}"/>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13092999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Flow Chart">
    <p:spTree>
      <p:nvGrpSpPr>
        <p:cNvPr id="1" name=""/>
        <p:cNvGrpSpPr/>
        <p:nvPr/>
      </p:nvGrpSpPr>
      <p:grpSpPr>
        <a:xfrm>
          <a:off x="0" y="0"/>
          <a:ext cx="0" cy="0"/>
          <a:chOff x="0" y="0"/>
          <a:chExt cx="0" cy="0"/>
        </a:xfrm>
      </p:grpSpPr>
      <p:sp>
        <p:nvSpPr>
          <p:cNvPr id="26" name="Text Placeholder 12"/>
          <p:cNvSpPr>
            <a:spLocks noGrp="1"/>
          </p:cNvSpPr>
          <p:nvPr>
            <p:ph type="body" sz="quarter" idx="21" hasCustomPrompt="1"/>
          </p:nvPr>
        </p:nvSpPr>
        <p:spPr>
          <a:xfrm>
            <a:off x="9053104" y="2471043"/>
            <a:ext cx="2524125" cy="3389236"/>
          </a:xfrm>
          <a:prstGeom prst="rect">
            <a:avLst/>
          </a:prstGeom>
        </p:spPr>
        <p:txBody>
          <a:bodyPr lIns="0" tIns="0" rIns="0" bIns="0">
            <a:noAutofit/>
          </a:bodyPr>
          <a:lstStyle>
            <a:lvl1pPr marL="0" indent="-182870">
              <a:lnSpc>
                <a:spcPct val="100000"/>
              </a:lnSpc>
              <a:buClr>
                <a:schemeClr val="accent4"/>
              </a:buClr>
              <a:defRPr sz="1200"/>
            </a:lvl1pPr>
            <a:lvl2pPr marL="359982" indent="-182390">
              <a:lnSpc>
                <a:spcPct val="100000"/>
              </a:lnSpc>
              <a:buClr>
                <a:schemeClr val="accent4"/>
              </a:buClr>
              <a:defRPr sz="1200"/>
            </a:lvl2pPr>
            <a:lvl3pPr marL="479976" indent="-182390" algn="l">
              <a:lnSpc>
                <a:spcPct val="100000"/>
              </a:lnSpc>
              <a:buClr>
                <a:schemeClr val="accent4"/>
              </a:buClr>
              <a:defRPr sz="1200"/>
            </a:lvl3pPr>
            <a:lvl4pPr marL="681566" indent="-182390">
              <a:lnSpc>
                <a:spcPct val="100000"/>
              </a:lnSpc>
              <a:buClr>
                <a:schemeClr val="accent4"/>
              </a:buClr>
              <a:defRPr sz="1200"/>
            </a:lvl4pPr>
            <a:lvl5pPr marL="873557" indent="-182390">
              <a:lnSpc>
                <a:spcPct val="100000"/>
              </a:lnSpc>
              <a:buClr>
                <a:schemeClr val="accent4"/>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599709" y="1567520"/>
            <a:ext cx="2522065" cy="802640"/>
          </a:xfrm>
          <a:prstGeom prst="rect">
            <a:avLst/>
          </a:prstGeom>
          <a:solidFill>
            <a:schemeClr val="accent3"/>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6270711" y="2471043"/>
            <a:ext cx="2524125" cy="3389236"/>
          </a:xfrm>
          <a:prstGeom prst="rect">
            <a:avLst/>
          </a:prstGeom>
        </p:spPr>
        <p:txBody>
          <a:bodyPr lIns="0" tIns="0" rIns="0" bIns="0">
            <a:noAutofit/>
          </a:bodyPr>
          <a:lstStyle>
            <a:lvl1pPr marL="0" indent="-182870">
              <a:lnSpc>
                <a:spcPct val="100000"/>
              </a:lnSpc>
              <a:buClr>
                <a:schemeClr val="accent2"/>
              </a:buClr>
              <a:defRPr sz="1200"/>
            </a:lvl1pPr>
            <a:lvl2pPr marL="359982" indent="-182390">
              <a:lnSpc>
                <a:spcPct val="100000"/>
              </a:lnSpc>
              <a:buClr>
                <a:schemeClr val="accent2"/>
              </a:buClr>
              <a:defRPr sz="1200"/>
            </a:lvl2pPr>
            <a:lvl3pPr marL="479976" indent="-182390" algn="l">
              <a:lnSpc>
                <a:spcPct val="100000"/>
              </a:lnSpc>
              <a:buClr>
                <a:schemeClr val="accent2"/>
              </a:buClr>
              <a:defRPr sz="1200"/>
            </a:lvl3pPr>
            <a:lvl4pPr marL="681566" indent="-182390">
              <a:lnSpc>
                <a:spcPct val="100000"/>
              </a:lnSpc>
              <a:buClr>
                <a:schemeClr val="accent2"/>
              </a:buClr>
              <a:defRPr sz="1200"/>
            </a:lvl4pPr>
            <a:lvl5pPr marL="873557" indent="-182390">
              <a:lnSpc>
                <a:spcPct val="100000"/>
              </a:lnSpc>
              <a:buClr>
                <a:schemeClr val="accent2"/>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3433288" y="2471043"/>
            <a:ext cx="2524125" cy="3389236"/>
          </a:xfrm>
          <a:prstGeom prst="rect">
            <a:avLst/>
          </a:prstGeom>
        </p:spPr>
        <p:txBody>
          <a:bodyPr lIns="0" tIns="0" rIns="0" bIns="0">
            <a:noAutofit/>
          </a:bodyPr>
          <a:lstStyle>
            <a:lvl1pPr marL="0" indent="-182870">
              <a:lnSpc>
                <a:spcPct val="100000"/>
              </a:lnSpc>
              <a:buClr>
                <a:schemeClr val="accent5"/>
              </a:buClr>
              <a:defRPr sz="1200"/>
            </a:lvl1pPr>
            <a:lvl2pPr marL="359982" indent="-182390">
              <a:lnSpc>
                <a:spcPct val="100000"/>
              </a:lnSpc>
              <a:buClr>
                <a:schemeClr val="accent5"/>
              </a:buClr>
              <a:defRPr sz="1200"/>
            </a:lvl2pPr>
            <a:lvl3pPr marL="479976" indent="-182390" algn="l">
              <a:lnSpc>
                <a:spcPct val="100000"/>
              </a:lnSpc>
              <a:buClr>
                <a:schemeClr val="accent5"/>
              </a:buClr>
              <a:defRPr sz="1200"/>
            </a:lvl3pPr>
            <a:lvl4pPr marL="681566" indent="-182390">
              <a:lnSpc>
                <a:spcPct val="100000"/>
              </a:lnSpc>
              <a:buClr>
                <a:schemeClr val="accent5"/>
              </a:buClr>
              <a:defRPr sz="1200"/>
            </a:lvl4pPr>
            <a:lvl5pPr marL="873557" indent="-182390">
              <a:lnSpc>
                <a:spcPct val="100000"/>
              </a:lnSpc>
              <a:buClr>
                <a:schemeClr val="accent5"/>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99316" y="2471043"/>
            <a:ext cx="2524125" cy="3389236"/>
          </a:xfrm>
          <a:prstGeom prst="rect">
            <a:avLst/>
          </a:prstGeom>
        </p:spPr>
        <p:txBody>
          <a:bodyPr lIns="0" tIns="0" rIns="0" bIns="0">
            <a:noAutofit/>
          </a:bodyPr>
          <a:lstStyle>
            <a:lvl1pPr marL="0" indent="-182870">
              <a:lnSpc>
                <a:spcPct val="100000"/>
              </a:lnSpc>
              <a:buClr>
                <a:schemeClr val="accent3"/>
              </a:buClr>
              <a:defRPr sz="1200"/>
            </a:lvl1pPr>
            <a:lvl2pPr marL="359982" indent="-182390">
              <a:lnSpc>
                <a:spcPct val="100000"/>
              </a:lnSpc>
              <a:buClr>
                <a:schemeClr val="accent3"/>
              </a:buClr>
              <a:defRPr sz="1200"/>
            </a:lvl2pPr>
            <a:lvl3pPr marL="479976" indent="-182390" algn="l">
              <a:lnSpc>
                <a:spcPct val="100000"/>
              </a:lnSpc>
              <a:buClr>
                <a:schemeClr val="accent3"/>
              </a:buClr>
              <a:defRPr sz="1200"/>
            </a:lvl3pPr>
            <a:lvl4pPr marL="681566" indent="-182390">
              <a:lnSpc>
                <a:spcPct val="100000"/>
              </a:lnSpc>
              <a:buClr>
                <a:schemeClr val="accent3"/>
              </a:buClr>
              <a:defRPr sz="1200"/>
            </a:lvl4pPr>
            <a:lvl5pPr marL="873557" indent="-182390">
              <a:lnSpc>
                <a:spcPct val="100000"/>
              </a:lnSpc>
              <a:buClr>
                <a:schemeClr val="accent3"/>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3437524" y="1567520"/>
            <a:ext cx="2522065" cy="802640"/>
          </a:xfrm>
          <a:prstGeom prst="rect">
            <a:avLst/>
          </a:prstGeom>
          <a:solidFill>
            <a:schemeClr val="accent5"/>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6267263" y="1567520"/>
            <a:ext cx="2522065" cy="802640"/>
          </a:xfrm>
          <a:prstGeom prst="rect">
            <a:avLst/>
          </a:prstGeom>
          <a:solidFill>
            <a:schemeClr val="accent2"/>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9065017" y="1567520"/>
            <a:ext cx="2522065" cy="802640"/>
          </a:xfrm>
          <a:prstGeom prst="rect">
            <a:avLst/>
          </a:prstGeom>
          <a:solidFill>
            <a:schemeClr val="accent4"/>
          </a:solidFill>
        </p:spPr>
        <p:txBody>
          <a:bodyPr lIns="0" tIns="0" rIns="0" bIns="0"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5" name="Title Placeholder 1">
            <a:extLst>
              <a:ext uri="{FF2B5EF4-FFF2-40B4-BE49-F238E27FC236}">
                <a16:creationId xmlns:a16="http://schemas.microsoft.com/office/drawing/2014/main" id="{E683AED9-F7C6-85EA-D98A-A617F3F2CE98}"/>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35235606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ntact">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588972" y="1515566"/>
            <a:ext cx="10995801" cy="347313"/>
          </a:xfrm>
          <a:prstGeom prst="rect">
            <a:avLst/>
          </a:prstGeom>
        </p:spPr>
        <p:txBody>
          <a:bodyPr lIns="0" tIns="0" rIns="0" bIns="0">
            <a:normAutofit/>
          </a:bodyPr>
          <a:lstStyle>
            <a:lvl1pPr marL="0" indent="0">
              <a:buFontTx/>
              <a:buNone/>
              <a:defRPr sz="1867" b="1" i="0"/>
            </a:lvl1pPr>
          </a:lstStyle>
          <a:p>
            <a:pPr lvl="0"/>
            <a:r>
              <a:rPr lang="en-GB" noProof="0"/>
              <a:t>Name</a:t>
            </a:r>
          </a:p>
        </p:txBody>
      </p:sp>
      <p:sp>
        <p:nvSpPr>
          <p:cNvPr id="21" name="Text Placeholder 2"/>
          <p:cNvSpPr>
            <a:spLocks noGrp="1"/>
          </p:cNvSpPr>
          <p:nvPr>
            <p:ph idx="13" hasCustomPrompt="1"/>
          </p:nvPr>
        </p:nvSpPr>
        <p:spPr bwMode="auto">
          <a:xfrm>
            <a:off x="588971" y="1943740"/>
            <a:ext cx="10986549" cy="3693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a:lvl1pPr>
            <a:lvl2pPr marL="362982" indent="0">
              <a:buNone/>
              <a:defRPr/>
            </a:lvl2pPr>
            <a:lvl3pPr marL="718165" indent="0">
              <a:buNone/>
              <a:defRPr/>
            </a:lvl3pPr>
            <a:lvl4pPr marL="1096775" indent="0">
              <a:buNone/>
              <a:defRPr/>
            </a:lvl4pPr>
            <a:lvl5pPr marL="1384760" indent="0">
              <a:buNone/>
              <a:defRPr/>
            </a:lvl5pPr>
          </a:lstStyle>
          <a:p>
            <a:r>
              <a:rPr lang="en-GB" noProof="0"/>
              <a:t>Title</a:t>
            </a:r>
          </a:p>
        </p:txBody>
      </p:sp>
      <p:sp>
        <p:nvSpPr>
          <p:cNvPr id="22" name="Text Placeholder 2"/>
          <p:cNvSpPr>
            <a:spLocks noGrp="1"/>
          </p:cNvSpPr>
          <p:nvPr>
            <p:ph idx="16" hasCustomPrompt="1"/>
          </p:nvPr>
        </p:nvSpPr>
        <p:spPr bwMode="auto">
          <a:xfrm>
            <a:off x="993053" y="3887050"/>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00 (0)00 0000 0000</a:t>
            </a:r>
          </a:p>
        </p:txBody>
      </p:sp>
      <p:sp>
        <p:nvSpPr>
          <p:cNvPr id="23" name="Text Placeholder 2"/>
          <p:cNvSpPr>
            <a:spLocks noGrp="1"/>
          </p:cNvSpPr>
          <p:nvPr>
            <p:ph idx="17" hasCustomPrompt="1"/>
          </p:nvPr>
        </p:nvSpPr>
        <p:spPr bwMode="auto">
          <a:xfrm>
            <a:off x="588971" y="5413419"/>
            <a:ext cx="10986549" cy="38487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b="1" i="0">
                <a:solidFill>
                  <a:schemeClr val="accent1"/>
                </a:solidFill>
              </a:defRPr>
            </a:lvl1pPr>
            <a:lvl2pPr marL="362982" indent="0">
              <a:buNone/>
              <a:defRPr/>
            </a:lvl2pPr>
            <a:lvl3pPr marL="718165" indent="0">
              <a:buNone/>
              <a:defRPr/>
            </a:lvl3pPr>
            <a:lvl4pPr marL="1096775" indent="0">
              <a:buNone/>
              <a:defRPr/>
            </a:lvl4pPr>
            <a:lvl5pPr marL="1384760" indent="0">
              <a:buNone/>
              <a:defRPr/>
            </a:lvl5pPr>
          </a:lstStyle>
          <a:p>
            <a:pPr lvl="0"/>
            <a:r>
              <a:rPr lang="en-GB" noProof="0"/>
              <a:t>www.gs1.org</a:t>
            </a:r>
          </a:p>
        </p:txBody>
      </p:sp>
      <p:sp>
        <p:nvSpPr>
          <p:cNvPr id="24" name="Text Placeholder 2"/>
          <p:cNvSpPr>
            <a:spLocks noGrp="1"/>
          </p:cNvSpPr>
          <p:nvPr>
            <p:ph idx="19" hasCustomPrompt="1"/>
          </p:nvPr>
        </p:nvSpPr>
        <p:spPr bwMode="auto">
          <a:xfrm>
            <a:off x="993053" y="4895059"/>
            <a:ext cx="10582467" cy="3368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name@gs1.org</a:t>
            </a:r>
          </a:p>
        </p:txBody>
      </p:sp>
      <p:sp>
        <p:nvSpPr>
          <p:cNvPr id="27" name="Text Placeholder 2"/>
          <p:cNvSpPr>
            <a:spLocks noGrp="1"/>
          </p:cNvSpPr>
          <p:nvPr>
            <p:ph idx="22" hasCustomPrompt="1"/>
          </p:nvPr>
        </p:nvSpPr>
        <p:spPr bwMode="auto">
          <a:xfrm>
            <a:off x="588971" y="2374947"/>
            <a:ext cx="10986549" cy="13908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sz="1600" b="0" baseline="0"/>
            </a:lvl1pPr>
            <a:lvl2pPr marL="362982" indent="0">
              <a:buNone/>
              <a:defRPr/>
            </a:lvl2pPr>
            <a:lvl3pPr marL="718165" indent="0">
              <a:buNone/>
              <a:defRPr/>
            </a:lvl3pPr>
            <a:lvl4pPr marL="1096775" indent="0">
              <a:buNone/>
              <a:defRPr/>
            </a:lvl4pPr>
            <a:lvl5pPr marL="1384760" indent="0">
              <a:buNone/>
              <a:defRPr/>
            </a:lvl5pPr>
          </a:lstStyle>
          <a:p>
            <a:pPr lvl="0"/>
            <a:r>
              <a:rPr lang="en-GB" noProof="0"/>
              <a:t>GS1 Address</a:t>
            </a:r>
          </a:p>
        </p:txBody>
      </p:sp>
      <p:sp>
        <p:nvSpPr>
          <p:cNvPr id="32" name="Text Placeholder 2"/>
          <p:cNvSpPr>
            <a:spLocks noGrp="1"/>
          </p:cNvSpPr>
          <p:nvPr>
            <p:ph idx="27" hasCustomPrompt="1"/>
          </p:nvPr>
        </p:nvSpPr>
        <p:spPr bwMode="auto">
          <a:xfrm>
            <a:off x="993053" y="4222785"/>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00 (0)00 0000 0000</a:t>
            </a:r>
          </a:p>
        </p:txBody>
      </p:sp>
      <p:sp>
        <p:nvSpPr>
          <p:cNvPr id="33" name="Text Placeholder 2"/>
          <p:cNvSpPr>
            <a:spLocks noGrp="1"/>
          </p:cNvSpPr>
          <p:nvPr>
            <p:ph idx="28" hasCustomPrompt="1"/>
          </p:nvPr>
        </p:nvSpPr>
        <p:spPr bwMode="auto">
          <a:xfrm>
            <a:off x="993053" y="4558520"/>
            <a:ext cx="10582467" cy="3473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592196" y="3889057"/>
            <a:ext cx="388627" cy="354563"/>
          </a:xfrm>
          <a:prstGeom prst="rect">
            <a:avLst/>
          </a:prstGeom>
        </p:spPr>
        <p:txBody>
          <a:bodyPr vert="horz" lIns="0" tIns="0" rIns="0" bIns="0"/>
          <a:lstStyle>
            <a:lvl1pPr marL="98996" indent="0" algn="l">
              <a:buNone/>
              <a:defRPr sz="1600" b="1" i="0"/>
            </a:lvl1pPr>
          </a:lstStyle>
          <a:p>
            <a:pPr lvl="0"/>
            <a:r>
              <a:rPr lang="en-GB" noProof="0"/>
              <a:t>T</a:t>
            </a:r>
          </a:p>
        </p:txBody>
      </p:sp>
      <p:sp>
        <p:nvSpPr>
          <p:cNvPr id="42" name="Text Placeholder 40"/>
          <p:cNvSpPr>
            <a:spLocks noGrp="1"/>
          </p:cNvSpPr>
          <p:nvPr>
            <p:ph type="body" sz="quarter" idx="34" hasCustomPrompt="1"/>
          </p:nvPr>
        </p:nvSpPr>
        <p:spPr>
          <a:xfrm>
            <a:off x="592196" y="4221377"/>
            <a:ext cx="388627" cy="354563"/>
          </a:xfrm>
          <a:prstGeom prst="rect">
            <a:avLst/>
          </a:prstGeom>
        </p:spPr>
        <p:txBody>
          <a:bodyPr vert="horz" lIns="0" tIns="0" rIns="0" bIns="0"/>
          <a:lstStyle>
            <a:lvl1pPr marL="98996" indent="0" algn="l">
              <a:buNone/>
              <a:defRPr sz="1600" b="1" i="0"/>
            </a:lvl1pPr>
          </a:lstStyle>
          <a:p>
            <a:pPr lvl="0"/>
            <a:r>
              <a:rPr lang="en-GB" noProof="0"/>
              <a:t>D</a:t>
            </a:r>
          </a:p>
        </p:txBody>
      </p:sp>
      <p:sp>
        <p:nvSpPr>
          <p:cNvPr id="43" name="Text Placeholder 40"/>
          <p:cNvSpPr>
            <a:spLocks noGrp="1"/>
          </p:cNvSpPr>
          <p:nvPr>
            <p:ph type="body" sz="quarter" idx="35" hasCustomPrompt="1"/>
          </p:nvPr>
        </p:nvSpPr>
        <p:spPr>
          <a:xfrm>
            <a:off x="592196" y="4557933"/>
            <a:ext cx="388627" cy="354563"/>
          </a:xfrm>
          <a:prstGeom prst="rect">
            <a:avLst/>
          </a:prstGeom>
        </p:spPr>
        <p:txBody>
          <a:bodyPr vert="horz" lIns="0" tIns="0" rIns="0" bIns="0"/>
          <a:lstStyle>
            <a:lvl1pPr marL="98996" indent="0" algn="l">
              <a:buNone/>
              <a:defRPr sz="1600" b="1" i="0"/>
            </a:lvl1pPr>
          </a:lstStyle>
          <a:p>
            <a:pPr lvl="0"/>
            <a:r>
              <a:rPr lang="en-GB" noProof="0"/>
              <a:t>M</a:t>
            </a:r>
          </a:p>
        </p:txBody>
      </p:sp>
      <p:sp>
        <p:nvSpPr>
          <p:cNvPr id="44" name="Text Placeholder 40"/>
          <p:cNvSpPr>
            <a:spLocks noGrp="1"/>
          </p:cNvSpPr>
          <p:nvPr>
            <p:ph type="body" sz="quarter" idx="36" hasCustomPrompt="1"/>
          </p:nvPr>
        </p:nvSpPr>
        <p:spPr>
          <a:xfrm>
            <a:off x="592196" y="4894840"/>
            <a:ext cx="388627" cy="354563"/>
          </a:xfrm>
          <a:prstGeom prst="rect">
            <a:avLst/>
          </a:prstGeom>
        </p:spPr>
        <p:txBody>
          <a:bodyPr vert="horz" lIns="0" tIns="0" rIns="0" bIns="0"/>
          <a:lstStyle>
            <a:lvl1pPr marL="98996" indent="0" algn="l">
              <a:buNone/>
              <a:defRPr sz="1600" b="1" i="0"/>
            </a:lvl1pPr>
          </a:lstStyle>
          <a:p>
            <a:pPr lvl="0"/>
            <a:r>
              <a:rPr lang="en-GB" noProof="0"/>
              <a:t>E</a:t>
            </a:r>
          </a:p>
        </p:txBody>
      </p:sp>
      <p:sp>
        <p:nvSpPr>
          <p:cNvPr id="2" name="Title Placeholder 1">
            <a:extLst>
              <a:ext uri="{FF2B5EF4-FFF2-40B4-BE49-F238E27FC236}">
                <a16:creationId xmlns:a16="http://schemas.microsoft.com/office/drawing/2014/main" id="{6D025EEC-96AF-FCC6-923E-D1978B0F1DFD}"/>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33814650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Blank_Bottom Whit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E44536-7F34-75F4-522E-D41D08F32023}"/>
              </a:ext>
            </a:extLst>
          </p:cNvPr>
          <p:cNvGraphicFramePr>
            <a:graphicFrameLocks noChangeAspect="1"/>
          </p:cNvGraphicFramePr>
          <p:nvPr userDrawn="1">
            <p:custDataLst>
              <p:tags r:id="rId1"/>
            </p:custDataLst>
            <p:extLst>
              <p:ext uri="{D42A27DB-BD31-4B8C-83A1-F6EECF244321}">
                <p14:modId xmlns:p14="http://schemas.microsoft.com/office/powerpoint/2010/main" val="171135356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5" progId="TCLayout.ActiveDocument.1">
                  <p:embed/>
                </p:oleObj>
              </mc:Choice>
              <mc:Fallback>
                <p:oleObj name="think-cell Slide" r:id="rId3" imgW="606" imgH="605" progId="TCLayout.ActiveDocument.1">
                  <p:embed/>
                  <p:pic>
                    <p:nvPicPr>
                      <p:cNvPr id="5" name="think-cell data - do not delete" hidden="1">
                        <a:extLst>
                          <a:ext uri="{FF2B5EF4-FFF2-40B4-BE49-F238E27FC236}">
                            <a16:creationId xmlns:a16="http://schemas.microsoft.com/office/drawing/2014/main" id="{B7E44536-7F34-75F4-522E-D41D08F32023}"/>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pPr defTabSz="914377" fontAlgn="base">
              <a:spcAft>
                <a:spcPct val="0"/>
              </a:spcAft>
              <a:defRPr/>
            </a:pPr>
            <a:fld id="{4472AB7F-E8D0-4874-A9B8-335B68DC5F05}" type="slidenum">
              <a:rPr lang="en-GB" smtClean="0"/>
              <a:pPr defTabSz="914377" fontAlgn="base">
                <a:spcAft>
                  <a:spcPct val="0"/>
                </a:spcAft>
                <a:defRPr/>
              </a:pPr>
              <a:t>‹#›</a:t>
            </a:fld>
            <a:endParaRPr lang="en-GB"/>
          </a:p>
        </p:txBody>
      </p:sp>
      <p:sp>
        <p:nvSpPr>
          <p:cNvPr id="2" name="Title Placeholder 1">
            <a:extLst>
              <a:ext uri="{FF2B5EF4-FFF2-40B4-BE49-F238E27FC236}">
                <a16:creationId xmlns:a16="http://schemas.microsoft.com/office/drawing/2014/main" id="{FDF2FBDC-CCA1-5626-CC79-517AC87142C8}"/>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2400"/>
            </a:lvl1pPr>
          </a:lstStyle>
          <a:p>
            <a:pPr lvl="0"/>
            <a:r>
              <a:rPr lang="en-GB" noProof="0"/>
              <a:t>Title goes here and can be two lines</a:t>
            </a:r>
          </a:p>
        </p:txBody>
      </p:sp>
      <p:sp>
        <p:nvSpPr>
          <p:cNvPr id="3" name="Rectangle 2">
            <a:extLst>
              <a:ext uri="{FF2B5EF4-FFF2-40B4-BE49-F238E27FC236}">
                <a16:creationId xmlns:a16="http://schemas.microsoft.com/office/drawing/2014/main" id="{33564248-88BB-8A2D-2619-22B29B64A2FD}"/>
              </a:ext>
            </a:extLst>
          </p:cNvPr>
          <p:cNvSpPr/>
          <p:nvPr userDrawn="1"/>
        </p:nvSpPr>
        <p:spPr>
          <a:xfrm>
            <a:off x="0" y="4048125"/>
            <a:ext cx="12192000" cy="280987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rtl="0">
              <a:spcAft>
                <a:spcPts val="300"/>
              </a:spcAft>
            </a:pPr>
            <a:endParaRPr lang="en-GB" sz="700" b="1">
              <a:solidFill>
                <a:schemeClr val="tx1"/>
              </a:solidFill>
            </a:endParaRPr>
          </a:p>
        </p:txBody>
      </p:sp>
    </p:spTree>
    <p:extLst>
      <p:ext uri="{BB962C8B-B14F-4D97-AF65-F5344CB8AC3E}">
        <p14:creationId xmlns:p14="http://schemas.microsoft.com/office/powerpoint/2010/main" val="40954927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Header Orang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AFC5ED-962C-2977-0683-D3AD53B015B1}"/>
              </a:ext>
            </a:extLst>
          </p:cNvPr>
          <p:cNvGraphicFramePr>
            <a:graphicFrameLocks noChangeAspect="1"/>
          </p:cNvGraphicFramePr>
          <p:nvPr userDrawn="1">
            <p:custDataLst>
              <p:tags r:id="rId1"/>
            </p:custDataLst>
            <p:extLst>
              <p:ext uri="{D42A27DB-BD31-4B8C-83A1-F6EECF244321}">
                <p14:modId xmlns:p14="http://schemas.microsoft.com/office/powerpoint/2010/main" val="2966558389"/>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think-cell data - do not delete" hidden="1">
                        <a:extLst>
                          <a:ext uri="{FF2B5EF4-FFF2-40B4-BE49-F238E27FC236}">
                            <a16:creationId xmlns:a16="http://schemas.microsoft.com/office/drawing/2014/main" id="{AEAFC5ED-962C-2977-0683-D3AD53B015B1}"/>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defTabSz="1218990" fontAlgn="base">
              <a:spcAft>
                <a:spcPct val="0"/>
              </a:spcAft>
              <a:defRPr/>
            </a:pPr>
            <a:fld id="{4472AB7F-E8D0-4874-A9B8-335B68DC5F05}" type="slidenum">
              <a:rPr lang="en-GB" smtClean="0"/>
              <a:pPr defTabSz="1218990" fontAlgn="base">
                <a:spcAft>
                  <a:spcPct val="0"/>
                </a:spcAft>
                <a:defRPr/>
              </a:pPr>
              <a:t>‹#›</a:t>
            </a:fld>
            <a:endParaRPr lang="en-GB"/>
          </a:p>
        </p:txBody>
      </p:sp>
      <p:sp>
        <p:nvSpPr>
          <p:cNvPr id="5" name="Rectangle 4"/>
          <p:cNvSpPr/>
          <p:nvPr/>
        </p:nvSpPr>
        <p:spPr>
          <a:xfrm>
            <a:off x="0" y="0"/>
            <a:ext cx="12192000" cy="6055056"/>
          </a:xfrm>
          <a:prstGeom prst="rect">
            <a:avLst/>
          </a:prstGeom>
          <a:solidFill>
            <a:schemeClr val="tx2"/>
          </a:solidFill>
          <a:ln w="25400">
            <a:noFill/>
          </a:ln>
          <a:effectLst/>
        </p:spPr>
        <p:style>
          <a:lnRef idx="1">
            <a:schemeClr val="accent1"/>
          </a:lnRef>
          <a:fillRef idx="3">
            <a:schemeClr val="accent1"/>
          </a:fillRef>
          <a:effectRef idx="2">
            <a:schemeClr val="accent1"/>
          </a:effectRef>
          <a:fontRef idx="minor">
            <a:schemeClr val="lt1"/>
          </a:fontRef>
        </p:style>
        <p:txBody>
          <a:bodyPr rtlCol="0" anchor="t"/>
          <a:lstStyle/>
          <a:p>
            <a:pPr marR="0" lvl="0" indent="0" algn="ctr" rtl="0" fontAlgn="auto">
              <a:lnSpc>
                <a:spcPct val="100000"/>
              </a:lnSpc>
              <a:spcBef>
                <a:spcPts val="0"/>
              </a:spcBef>
              <a:spcAft>
                <a:spcPts val="300"/>
              </a:spcAft>
              <a:buClrTx/>
              <a:buSzTx/>
              <a:buFontTx/>
              <a:buNone/>
              <a:tabLst/>
            </a:pPr>
            <a:endParaRPr kumimoji="0" lang="en-GB" sz="1400" b="1" i="0" u="none" strike="noStrike" cap="none" spc="0" normalizeH="0" baseline="0" noProof="0">
              <a:ln>
                <a:noFill/>
              </a:ln>
              <a:solidFill>
                <a:prstClr val="white"/>
              </a:solidFill>
              <a:effectLst/>
              <a:uLnTx/>
              <a:uFillTx/>
              <a:latin typeface="Verdana"/>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4" indent="0" rtl="0">
              <a:lnSpc>
                <a:spcPct val="100000"/>
              </a:lnSpc>
              <a:buNone/>
              <a:defRPr sz="4000" b="1">
                <a:solidFill>
                  <a:schemeClr val="bg1"/>
                </a:solidFill>
              </a:defRPr>
            </a:lvl1pPr>
            <a:lvl2pPr marL="362974" indent="0">
              <a:buNone/>
              <a:defRPr>
                <a:solidFill>
                  <a:schemeClr val="bg1"/>
                </a:solidFill>
              </a:defRPr>
            </a:lvl2pPr>
            <a:lvl3pPr marL="718147" indent="0">
              <a:buNone/>
              <a:defRPr>
                <a:solidFill>
                  <a:schemeClr val="bg1"/>
                </a:solidFill>
              </a:defRPr>
            </a:lvl3pPr>
            <a:lvl4pPr marL="1096747" indent="0">
              <a:buNone/>
              <a:defRPr>
                <a:solidFill>
                  <a:schemeClr val="bg1"/>
                </a:solidFill>
              </a:defRPr>
            </a:lvl4pPr>
            <a:lvl5pPr marL="1384725" indent="0">
              <a:buNone/>
              <a:defRPr>
                <a:solidFill>
                  <a:schemeClr val="bg1"/>
                </a:solidFill>
              </a:defRPr>
            </a:lvl5pPr>
          </a:lstStyle>
          <a:p>
            <a:pPr lvl="0"/>
            <a:r>
              <a:rPr lang="en-GB" noProof="0"/>
              <a:t>Click to edit header</a:t>
            </a:r>
          </a:p>
        </p:txBody>
      </p:sp>
    </p:spTree>
    <p:extLst>
      <p:ext uri="{BB962C8B-B14F-4D97-AF65-F5344CB8AC3E}">
        <p14:creationId xmlns:p14="http://schemas.microsoft.com/office/powerpoint/2010/main" val="10829493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Orang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914377" fontAlgn="base">
              <a:spcAft>
                <a:spcPct val="0"/>
              </a:spcAft>
              <a:defRPr/>
            </a:pPr>
            <a:fld id="{4472AB7F-E8D0-4874-A9B8-335B68DC5F05}" type="slidenum">
              <a:rPr lang="en-GB" smtClean="0"/>
              <a:pPr defTabSz="914377" fontAlgn="base">
                <a:spcAft>
                  <a:spcPct val="0"/>
                </a:spcAft>
                <a:defRPr/>
              </a:pPr>
              <a:t>‹#›</a:t>
            </a:fld>
            <a:endParaRPr lang="en-GB"/>
          </a:p>
        </p:txBody>
      </p:sp>
      <p:sp>
        <p:nvSpPr>
          <p:cNvPr id="5" name="Text Placeholder 19">
            <a:extLst>
              <a:ext uri="{FF2B5EF4-FFF2-40B4-BE49-F238E27FC236}">
                <a16:creationId xmlns:a16="http://schemas.microsoft.com/office/drawing/2014/main" id="{EA470840-6830-0355-7809-F8C901949B68}"/>
              </a:ext>
            </a:extLst>
          </p:cNvPr>
          <p:cNvSpPr>
            <a:spLocks noGrp="1"/>
          </p:cNvSpPr>
          <p:nvPr>
            <p:ph type="body" sz="quarter" idx="11" hasCustomPrompt="1"/>
          </p:nvPr>
        </p:nvSpPr>
        <p:spPr>
          <a:xfrm>
            <a:off x="596641" y="1222841"/>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718131DC-3F72-C578-A90A-5DA37F7D22BA}"/>
              </a:ext>
            </a:extLst>
          </p:cNvPr>
          <p:cNvSpPr>
            <a:spLocks noGrp="1"/>
          </p:cNvSpPr>
          <p:nvPr>
            <p:ph type="title" hasCustomPrompt="1"/>
          </p:nvPr>
        </p:nvSpPr>
        <p:spPr bwMode="auto">
          <a:xfrm>
            <a:off x="596641"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1116955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16" name="Text Placeholder 5"/>
          <p:cNvSpPr>
            <a:spLocks noGrp="1"/>
          </p:cNvSpPr>
          <p:nvPr>
            <p:ph type="body" sz="quarter" idx="15" hasCustomPrompt="1"/>
          </p:nvPr>
        </p:nvSpPr>
        <p:spPr>
          <a:xfrm>
            <a:off x="596982" y="1455430"/>
            <a:ext cx="3348485" cy="654317"/>
          </a:xfrm>
          <a:prstGeom prst="rect">
            <a:avLst/>
          </a:prstGeom>
        </p:spPr>
        <p:txBody>
          <a:bodyPr lIns="0" tIns="0" rIns="0" bIns="0" anchor="b" anchorCtr="0">
            <a:noAutofit/>
          </a:bodyPr>
          <a:lstStyle>
            <a:lvl1pPr marL="0" indent="0">
              <a:lnSpc>
                <a:spcPct val="100000"/>
              </a:lnSpc>
              <a:buFontTx/>
              <a:buNone/>
              <a:defRPr sz="20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596982" y="2247358"/>
            <a:ext cx="3347489" cy="3625500"/>
          </a:xfrm>
          <a:prstGeom prst="rect">
            <a:avLst/>
          </a:prstGeom>
        </p:spPr>
        <p:txBody>
          <a:bodyPr lIns="0" tIns="0" rIns="0" bIns="0">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4363339" y="1455430"/>
            <a:ext cx="3348485" cy="654317"/>
          </a:xfrm>
          <a:prstGeom prst="rect">
            <a:avLst/>
          </a:prstGeom>
        </p:spPr>
        <p:txBody>
          <a:bodyPr lIns="0" tIns="0" rIns="0" bIns="0" anchor="b" anchorCtr="0">
            <a:noAutofit/>
          </a:bodyPr>
          <a:lstStyle>
            <a:lvl1pPr marL="0" indent="0">
              <a:lnSpc>
                <a:spcPct val="100000"/>
              </a:lnSpc>
              <a:buFontTx/>
              <a:buNone/>
              <a:defRPr sz="20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4363838" y="2247358"/>
            <a:ext cx="3347489" cy="3625500"/>
          </a:xfrm>
          <a:prstGeom prst="rect">
            <a:avLst/>
          </a:prstGeom>
        </p:spPr>
        <p:txBody>
          <a:bodyPr lIns="0" tIns="0" rIns="0" bIns="0">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8236902" y="1455430"/>
            <a:ext cx="3348485" cy="654317"/>
          </a:xfrm>
          <a:prstGeom prst="rect">
            <a:avLst/>
          </a:prstGeom>
        </p:spPr>
        <p:txBody>
          <a:bodyPr lIns="0" tIns="0" rIns="0" bIns="0" anchor="b" anchorCtr="0">
            <a:noAutofit/>
          </a:bodyPr>
          <a:lstStyle>
            <a:lvl1pPr marL="0" indent="0">
              <a:lnSpc>
                <a:spcPct val="100000"/>
              </a:lnSpc>
              <a:buFontTx/>
              <a:buNone/>
              <a:defRPr sz="20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8237401" y="2247358"/>
            <a:ext cx="3347489" cy="3625500"/>
          </a:xfrm>
          <a:prstGeom prst="rect">
            <a:avLst/>
          </a:prstGeom>
        </p:spPr>
        <p:txBody>
          <a:bodyPr lIns="0" tIns="0" rIns="0" bIns="0">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Title Placeholder 1">
            <a:extLst>
              <a:ext uri="{FF2B5EF4-FFF2-40B4-BE49-F238E27FC236}">
                <a16:creationId xmlns:a16="http://schemas.microsoft.com/office/drawing/2014/main" id="{D24450A0-1EF2-309C-1EE5-63EDBD67D870}"/>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5637210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E44536-7F34-75F4-522E-D41D08F32023}"/>
              </a:ext>
            </a:extLst>
          </p:cNvPr>
          <p:cNvGraphicFramePr>
            <a:graphicFrameLocks noChangeAspect="1"/>
          </p:cNvGraphicFramePr>
          <p:nvPr userDrawn="1">
            <p:custDataLst>
              <p:tags r:id="rId1"/>
            </p:custDataLst>
            <p:extLst>
              <p:ext uri="{D42A27DB-BD31-4B8C-83A1-F6EECF244321}">
                <p14:modId xmlns:p14="http://schemas.microsoft.com/office/powerpoint/2010/main" val="208854870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5" progId="TCLayout.ActiveDocument.1">
                  <p:embed/>
                </p:oleObj>
              </mc:Choice>
              <mc:Fallback>
                <p:oleObj name="think-cell Slide" r:id="rId3" imgW="606" imgH="605" progId="TCLayout.ActiveDocument.1">
                  <p:embed/>
                  <p:pic>
                    <p:nvPicPr>
                      <p:cNvPr id="5" name="think-cell data - do not delete" hidden="1">
                        <a:extLst>
                          <a:ext uri="{FF2B5EF4-FFF2-40B4-BE49-F238E27FC236}">
                            <a16:creationId xmlns:a16="http://schemas.microsoft.com/office/drawing/2014/main" id="{B7E44536-7F34-75F4-522E-D41D08F32023}"/>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E101A9A-74DD-1F48-FBB0-4F69B1921563}"/>
              </a:ext>
            </a:extLst>
          </p:cNvPr>
          <p:cNvSpPr/>
          <p:nvPr userDrawn="1"/>
        </p:nvSpPr>
        <p:spPr>
          <a:xfrm>
            <a:off x="385011" y="5986978"/>
            <a:ext cx="11405936" cy="718393"/>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solidFill>
                <a:schemeClr val="tx1"/>
              </a:solidFill>
            </a:endParaRP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 name="Title Placeholder 1">
            <a:extLst>
              <a:ext uri="{FF2B5EF4-FFF2-40B4-BE49-F238E27FC236}">
                <a16:creationId xmlns:a16="http://schemas.microsoft.com/office/drawing/2014/main" id="{FDF2FBDC-CCA1-5626-CC79-517AC87142C8}"/>
              </a:ext>
            </a:extLst>
          </p:cNvPr>
          <p:cNvSpPr>
            <a:spLocks noGrp="1"/>
          </p:cNvSpPr>
          <p:nvPr>
            <p:ph type="title" hasCustomPrompt="1"/>
          </p:nvPr>
        </p:nvSpPr>
        <p:spPr bwMode="auto">
          <a:xfrm>
            <a:off x="596640"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2400"/>
            </a:lvl1pPr>
          </a:lstStyle>
          <a:p>
            <a:pPr lvl="0"/>
            <a:r>
              <a:rPr lang="en-GB" noProof="0"/>
              <a:t>Title goes here and can be two lines</a:t>
            </a:r>
          </a:p>
        </p:txBody>
      </p:sp>
    </p:spTree>
    <p:extLst>
      <p:ext uri="{BB962C8B-B14F-4D97-AF65-F5344CB8AC3E}">
        <p14:creationId xmlns:p14="http://schemas.microsoft.com/office/powerpoint/2010/main" val="34768877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94885" y="3493084"/>
            <a:ext cx="5196316" cy="725311"/>
          </a:xfrm>
          <a:prstGeom prst="rect">
            <a:avLst/>
          </a:prstGeom>
        </p:spPr>
        <p:txBody>
          <a:bodyPr lIns="0" tIns="0" rIns="0" bIns="0" anchor="t" anchorCtr="0"/>
          <a:lstStyle>
            <a:lvl1pPr algn="l">
              <a:lnSpc>
                <a:spcPct val="100000"/>
              </a:lnSpc>
              <a:defRPr sz="2133"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594895" y="4341549"/>
            <a:ext cx="5196311" cy="205052"/>
          </a:xfrm>
          <a:prstGeom prst="rect">
            <a:avLst/>
          </a:prstGeom>
        </p:spPr>
        <p:txBody>
          <a:bodyPr lIns="0" tIns="0" rIns="0" bIns="0"/>
          <a:lstStyle>
            <a:lvl1pPr marL="0" indent="0" algn="l">
              <a:buNone/>
              <a:defRPr sz="1333" b="0" i="0" cap="none" spc="120" baseline="0">
                <a:solidFill>
                  <a:srgbClr val="FFFFFF"/>
                </a:solidFill>
                <a:latin typeface="Verdana"/>
                <a:cs typeface="Verdana"/>
              </a:defRPr>
            </a:lvl1pPr>
          </a:lstStyle>
          <a:p>
            <a:pPr lvl="0"/>
            <a:r>
              <a:rPr lang="en-GB" noProof="0"/>
              <a:t>Click to add subtitle</a:t>
            </a:r>
          </a:p>
        </p:txBody>
      </p:sp>
      <p:sp>
        <p:nvSpPr>
          <p:cNvPr id="14" name="Text Placeholder 19"/>
          <p:cNvSpPr>
            <a:spLocks noGrp="1"/>
          </p:cNvSpPr>
          <p:nvPr>
            <p:ph type="body" sz="quarter" idx="12" hasCustomPrompt="1"/>
          </p:nvPr>
        </p:nvSpPr>
        <p:spPr>
          <a:xfrm>
            <a:off x="609625" y="4863067"/>
            <a:ext cx="5187443" cy="205052"/>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609601" y="5113853"/>
            <a:ext cx="5187457"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pic>
        <p:nvPicPr>
          <p:cNvPr id="2" name="Picture Placeholder 2" descr="A person holding a phone in a grocery store&#10;&#10;Description automatically generated">
            <a:extLst>
              <a:ext uri="{FF2B5EF4-FFF2-40B4-BE49-F238E27FC236}">
                <a16:creationId xmlns:a16="http://schemas.microsoft.com/office/drawing/2014/main" id="{375E3E18-DAAD-600A-19DF-862C77EB4A62}"/>
              </a:ext>
            </a:extLst>
          </p:cNvPr>
          <p:cNvPicPr>
            <a:picLocks noChangeAspect="1"/>
          </p:cNvPicPr>
          <p:nvPr userDrawn="1"/>
        </p:nvPicPr>
        <p:blipFill>
          <a:blip r:embed="rId3"/>
          <a:srcRect l="83" r="83"/>
          <a:stretch>
            <a:fillRect/>
          </a:stretch>
        </p:blipFill>
        <p:spPr>
          <a:xfrm>
            <a:off x="6195661" y="2163797"/>
            <a:ext cx="6007968" cy="4705843"/>
          </a:xfrm>
          <a:custGeom>
            <a:avLst/>
            <a:gdLst>
              <a:gd name="connsiteX0" fmla="*/ 0 w 4115581"/>
              <a:gd name="connsiteY0" fmla="*/ 0 h 4073007"/>
              <a:gd name="connsiteX1" fmla="*/ 4115581 w 4115581"/>
              <a:gd name="connsiteY1" fmla="*/ 0 h 4073007"/>
              <a:gd name="connsiteX2" fmla="*/ 4115581 w 4115581"/>
              <a:gd name="connsiteY2" fmla="*/ 4073007 h 4073007"/>
              <a:gd name="connsiteX3" fmla="*/ 0 w 4115581"/>
              <a:gd name="connsiteY3" fmla="*/ 4073007 h 4073007"/>
              <a:gd name="connsiteX4" fmla="*/ 0 w 4115581"/>
              <a:gd name="connsiteY4" fmla="*/ 0 h 4073007"/>
              <a:gd name="connsiteX0" fmla="*/ 429846 w 4545427"/>
              <a:gd name="connsiteY0" fmla="*/ 0 h 4073007"/>
              <a:gd name="connsiteX1" fmla="*/ 4545427 w 4545427"/>
              <a:gd name="connsiteY1" fmla="*/ 0 h 4073007"/>
              <a:gd name="connsiteX2" fmla="*/ 4545427 w 4545427"/>
              <a:gd name="connsiteY2" fmla="*/ 4073007 h 4073007"/>
              <a:gd name="connsiteX3" fmla="*/ 429846 w 4545427"/>
              <a:gd name="connsiteY3" fmla="*/ 4073007 h 4073007"/>
              <a:gd name="connsiteX4" fmla="*/ 429846 w 4545427"/>
              <a:gd name="connsiteY4" fmla="*/ 0 h 4073007"/>
              <a:gd name="connsiteX0" fmla="*/ 563853 w 4679434"/>
              <a:gd name="connsiteY0" fmla="*/ 0 h 4073007"/>
              <a:gd name="connsiteX1" fmla="*/ 4679434 w 4679434"/>
              <a:gd name="connsiteY1" fmla="*/ 0 h 4073007"/>
              <a:gd name="connsiteX2" fmla="*/ 4679434 w 4679434"/>
              <a:gd name="connsiteY2" fmla="*/ 4073007 h 4073007"/>
              <a:gd name="connsiteX3" fmla="*/ 563853 w 4679434"/>
              <a:gd name="connsiteY3" fmla="*/ 4073007 h 4073007"/>
              <a:gd name="connsiteX4" fmla="*/ 563853 w 4679434"/>
              <a:gd name="connsiteY4" fmla="*/ 0 h 4073007"/>
              <a:gd name="connsiteX0" fmla="*/ 570773 w 4668769"/>
              <a:gd name="connsiteY0" fmla="*/ 0 h 4081799"/>
              <a:gd name="connsiteX1" fmla="*/ 4668769 w 4668769"/>
              <a:gd name="connsiteY1" fmla="*/ 8792 h 4081799"/>
              <a:gd name="connsiteX2" fmla="*/ 4668769 w 4668769"/>
              <a:gd name="connsiteY2" fmla="*/ 4081799 h 4081799"/>
              <a:gd name="connsiteX3" fmla="*/ 553188 w 4668769"/>
              <a:gd name="connsiteY3" fmla="*/ 4081799 h 4081799"/>
              <a:gd name="connsiteX4" fmla="*/ 570773 w 4668769"/>
              <a:gd name="connsiteY4" fmla="*/ 0 h 4081799"/>
              <a:gd name="connsiteX0" fmla="*/ 570773 w 4677561"/>
              <a:gd name="connsiteY0" fmla="*/ 1 h 4081800"/>
              <a:gd name="connsiteX1" fmla="*/ 4677561 w 4677561"/>
              <a:gd name="connsiteY1" fmla="*/ 0 h 4081800"/>
              <a:gd name="connsiteX2" fmla="*/ 4668769 w 4677561"/>
              <a:gd name="connsiteY2" fmla="*/ 4081800 h 4081800"/>
              <a:gd name="connsiteX3" fmla="*/ 553188 w 4677561"/>
              <a:gd name="connsiteY3" fmla="*/ 4081800 h 4081800"/>
              <a:gd name="connsiteX4" fmla="*/ 570773 w 4677561"/>
              <a:gd name="connsiteY4" fmla="*/ 1 h 4081800"/>
              <a:gd name="connsiteX0" fmla="*/ 599816 w 4706604"/>
              <a:gd name="connsiteY0" fmla="*/ 1 h 4081800"/>
              <a:gd name="connsiteX1" fmla="*/ 4706604 w 4706604"/>
              <a:gd name="connsiteY1" fmla="*/ 0 h 4081800"/>
              <a:gd name="connsiteX2" fmla="*/ 4697812 w 4706604"/>
              <a:gd name="connsiteY2" fmla="*/ 4081800 h 4081800"/>
              <a:gd name="connsiteX3" fmla="*/ 511892 w 4706604"/>
              <a:gd name="connsiteY3" fmla="*/ 3659769 h 4081800"/>
              <a:gd name="connsiteX4" fmla="*/ 599816 w 4706604"/>
              <a:gd name="connsiteY4" fmla="*/ 1 h 4081800"/>
              <a:gd name="connsiteX0" fmla="*/ 599816 w 4706604"/>
              <a:gd name="connsiteY0" fmla="*/ 1 h 3659769"/>
              <a:gd name="connsiteX1" fmla="*/ 4706604 w 4706604"/>
              <a:gd name="connsiteY1" fmla="*/ 0 h 3659769"/>
              <a:gd name="connsiteX2" fmla="*/ 4645059 w 4706604"/>
              <a:gd name="connsiteY2" fmla="*/ 3624600 h 3659769"/>
              <a:gd name="connsiteX3" fmla="*/ 511892 w 4706604"/>
              <a:gd name="connsiteY3" fmla="*/ 3659769 h 3659769"/>
              <a:gd name="connsiteX4" fmla="*/ 599816 w 4706604"/>
              <a:gd name="connsiteY4" fmla="*/ 1 h 3659769"/>
              <a:gd name="connsiteX0" fmla="*/ 599816 w 4707450"/>
              <a:gd name="connsiteY0" fmla="*/ 1 h 3659769"/>
              <a:gd name="connsiteX1" fmla="*/ 4706604 w 4707450"/>
              <a:gd name="connsiteY1" fmla="*/ 0 h 3659769"/>
              <a:gd name="connsiteX2" fmla="*/ 4706605 w 4707450"/>
              <a:gd name="connsiteY2" fmla="*/ 3650977 h 3659769"/>
              <a:gd name="connsiteX3" fmla="*/ 511892 w 4707450"/>
              <a:gd name="connsiteY3" fmla="*/ 3659769 h 3659769"/>
              <a:gd name="connsiteX4" fmla="*/ 599816 w 4707450"/>
              <a:gd name="connsiteY4" fmla="*/ 1 h 3659769"/>
              <a:gd name="connsiteX0" fmla="*/ 634214 w 4741848"/>
              <a:gd name="connsiteY0" fmla="*/ 1 h 3668316"/>
              <a:gd name="connsiteX1" fmla="*/ 4741002 w 4741848"/>
              <a:gd name="connsiteY1" fmla="*/ 0 h 3668316"/>
              <a:gd name="connsiteX2" fmla="*/ 4741003 w 4741848"/>
              <a:gd name="connsiteY2" fmla="*/ 3650977 h 3668316"/>
              <a:gd name="connsiteX3" fmla="*/ 469369 w 4741848"/>
              <a:gd name="connsiteY3" fmla="*/ 3668316 h 3668316"/>
              <a:gd name="connsiteX4" fmla="*/ 634214 w 4741848"/>
              <a:gd name="connsiteY4" fmla="*/ 1 h 3668316"/>
              <a:gd name="connsiteX0" fmla="*/ 642249 w 4732789"/>
              <a:gd name="connsiteY0" fmla="*/ 1 h 3668316"/>
              <a:gd name="connsiteX1" fmla="*/ 4731943 w 4732789"/>
              <a:gd name="connsiteY1" fmla="*/ 0 h 3668316"/>
              <a:gd name="connsiteX2" fmla="*/ 4731944 w 4732789"/>
              <a:gd name="connsiteY2" fmla="*/ 3650977 h 3668316"/>
              <a:gd name="connsiteX3" fmla="*/ 460310 w 4732789"/>
              <a:gd name="connsiteY3" fmla="*/ 3668316 h 3668316"/>
              <a:gd name="connsiteX4" fmla="*/ 642249 w 4732789"/>
              <a:gd name="connsiteY4" fmla="*/ 1 h 3668316"/>
              <a:gd name="connsiteX0" fmla="*/ 642249 w 4732789"/>
              <a:gd name="connsiteY0" fmla="*/ 1 h 3680688"/>
              <a:gd name="connsiteX1" fmla="*/ 4731943 w 4732789"/>
              <a:gd name="connsiteY1" fmla="*/ 0 h 3680688"/>
              <a:gd name="connsiteX2" fmla="*/ 4731944 w 4732789"/>
              <a:gd name="connsiteY2" fmla="*/ 3680688 h 3680688"/>
              <a:gd name="connsiteX3" fmla="*/ 460310 w 4732789"/>
              <a:gd name="connsiteY3" fmla="*/ 3668316 h 3680688"/>
              <a:gd name="connsiteX4" fmla="*/ 642249 w 4732789"/>
              <a:gd name="connsiteY4" fmla="*/ 1 h 3680688"/>
              <a:gd name="connsiteX0" fmla="*/ 642249 w 4732789"/>
              <a:gd name="connsiteY0" fmla="*/ 1 h 3681521"/>
              <a:gd name="connsiteX1" fmla="*/ 4731943 w 4732789"/>
              <a:gd name="connsiteY1" fmla="*/ 0 h 3681521"/>
              <a:gd name="connsiteX2" fmla="*/ 4731944 w 4732789"/>
              <a:gd name="connsiteY2" fmla="*/ 3680688 h 3681521"/>
              <a:gd name="connsiteX3" fmla="*/ 460310 w 4732789"/>
              <a:gd name="connsiteY3" fmla="*/ 3681521 h 3681521"/>
              <a:gd name="connsiteX4" fmla="*/ 642249 w 4732789"/>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36661 w 4760368"/>
              <a:gd name="connsiteY0" fmla="*/ 5491 h 3681521"/>
              <a:gd name="connsiteX1" fmla="*/ 4759522 w 4760368"/>
              <a:gd name="connsiteY1" fmla="*/ 0 h 3681521"/>
              <a:gd name="connsiteX2" fmla="*/ 4759523 w 4760368"/>
              <a:gd name="connsiteY2" fmla="*/ 3680688 h 3681521"/>
              <a:gd name="connsiteX3" fmla="*/ 487889 w 4760368"/>
              <a:gd name="connsiteY3" fmla="*/ 3681521 h 3681521"/>
              <a:gd name="connsiteX4" fmla="*/ 636661 w 4760368"/>
              <a:gd name="connsiteY4" fmla="*/ 5491 h 3681521"/>
              <a:gd name="connsiteX0" fmla="*/ 629168 w 4769574"/>
              <a:gd name="connsiteY0" fmla="*/ 8808 h 3681521"/>
              <a:gd name="connsiteX1" fmla="*/ 4768728 w 4769574"/>
              <a:gd name="connsiteY1" fmla="*/ 0 h 3681521"/>
              <a:gd name="connsiteX2" fmla="*/ 4768729 w 4769574"/>
              <a:gd name="connsiteY2" fmla="*/ 3680688 h 3681521"/>
              <a:gd name="connsiteX3" fmla="*/ 497095 w 4769574"/>
              <a:gd name="connsiteY3" fmla="*/ 3681521 h 3681521"/>
              <a:gd name="connsiteX4" fmla="*/ 629168 w 4769574"/>
              <a:gd name="connsiteY4" fmla="*/ 8808 h 3681521"/>
              <a:gd name="connsiteX0" fmla="*/ 601494 w 4741900"/>
              <a:gd name="connsiteY0" fmla="*/ 8808 h 3684838"/>
              <a:gd name="connsiteX1" fmla="*/ 4741054 w 4741900"/>
              <a:gd name="connsiteY1" fmla="*/ 0 h 3684838"/>
              <a:gd name="connsiteX2" fmla="*/ 4741055 w 4741900"/>
              <a:gd name="connsiteY2" fmla="*/ 3680688 h 3684838"/>
              <a:gd name="connsiteX3" fmla="*/ 533787 w 4741900"/>
              <a:gd name="connsiteY3" fmla="*/ 3684838 h 3684838"/>
              <a:gd name="connsiteX4" fmla="*/ 601494 w 4741900"/>
              <a:gd name="connsiteY4" fmla="*/ 8808 h 3684838"/>
              <a:gd name="connsiteX0" fmla="*/ 617057 w 4757463"/>
              <a:gd name="connsiteY0" fmla="*/ 8808 h 3680688"/>
              <a:gd name="connsiteX1" fmla="*/ 4756617 w 4757463"/>
              <a:gd name="connsiteY1" fmla="*/ 0 h 3680688"/>
              <a:gd name="connsiteX2" fmla="*/ 4756618 w 4757463"/>
              <a:gd name="connsiteY2" fmla="*/ 3680688 h 3680688"/>
              <a:gd name="connsiteX3" fmla="*/ 512611 w 4757463"/>
              <a:gd name="connsiteY3" fmla="*/ 3678203 h 3680688"/>
              <a:gd name="connsiteX4" fmla="*/ 617057 w 4757463"/>
              <a:gd name="connsiteY4" fmla="*/ 8808 h 3680688"/>
              <a:gd name="connsiteX0" fmla="*/ 602464 w 4742870"/>
              <a:gd name="connsiteY0" fmla="*/ 8808 h 3680688"/>
              <a:gd name="connsiteX1" fmla="*/ 4742024 w 4742870"/>
              <a:gd name="connsiteY1" fmla="*/ 0 h 3680688"/>
              <a:gd name="connsiteX2" fmla="*/ 4742025 w 4742870"/>
              <a:gd name="connsiteY2" fmla="*/ 3680688 h 3680688"/>
              <a:gd name="connsiteX3" fmla="*/ 498018 w 4742870"/>
              <a:gd name="connsiteY3" fmla="*/ 3678203 h 3680688"/>
              <a:gd name="connsiteX4" fmla="*/ 602464 w 4742870"/>
              <a:gd name="connsiteY4" fmla="*/ 8808 h 3680688"/>
              <a:gd name="connsiteX0" fmla="*/ 586378 w 4726784"/>
              <a:gd name="connsiteY0" fmla="*/ 8808 h 3680688"/>
              <a:gd name="connsiteX1" fmla="*/ 4725938 w 4726784"/>
              <a:gd name="connsiteY1" fmla="*/ 0 h 3680688"/>
              <a:gd name="connsiteX2" fmla="*/ 4725939 w 4726784"/>
              <a:gd name="connsiteY2" fmla="*/ 3680688 h 3680688"/>
              <a:gd name="connsiteX3" fmla="*/ 481932 w 4726784"/>
              <a:gd name="connsiteY3" fmla="*/ 3678203 h 3680688"/>
              <a:gd name="connsiteX4" fmla="*/ 586378 w 4726784"/>
              <a:gd name="connsiteY4" fmla="*/ 8808 h 3680688"/>
              <a:gd name="connsiteX0" fmla="*/ 575515 w 4715921"/>
              <a:gd name="connsiteY0" fmla="*/ 8808 h 3680688"/>
              <a:gd name="connsiteX1" fmla="*/ 4715075 w 4715921"/>
              <a:gd name="connsiteY1" fmla="*/ 0 h 3680688"/>
              <a:gd name="connsiteX2" fmla="*/ 4715076 w 4715921"/>
              <a:gd name="connsiteY2" fmla="*/ 3680688 h 3680688"/>
              <a:gd name="connsiteX3" fmla="*/ 471069 w 4715921"/>
              <a:gd name="connsiteY3" fmla="*/ 3678203 h 3680688"/>
              <a:gd name="connsiteX4" fmla="*/ 575515 w 4715921"/>
              <a:gd name="connsiteY4" fmla="*/ 8808 h 3680688"/>
              <a:gd name="connsiteX0" fmla="*/ 587738 w 4728144"/>
              <a:gd name="connsiteY0" fmla="*/ 8808 h 3680688"/>
              <a:gd name="connsiteX1" fmla="*/ 4727298 w 4728144"/>
              <a:gd name="connsiteY1" fmla="*/ 0 h 3680688"/>
              <a:gd name="connsiteX2" fmla="*/ 4727299 w 4728144"/>
              <a:gd name="connsiteY2" fmla="*/ 3680688 h 3680688"/>
              <a:gd name="connsiteX3" fmla="*/ 483292 w 4728144"/>
              <a:gd name="connsiteY3" fmla="*/ 3678203 h 3680688"/>
              <a:gd name="connsiteX4" fmla="*/ 587738 w 4728144"/>
              <a:gd name="connsiteY4" fmla="*/ 8808 h 3680688"/>
              <a:gd name="connsiteX0" fmla="*/ 592227 w 4732633"/>
              <a:gd name="connsiteY0" fmla="*/ 8808 h 3680688"/>
              <a:gd name="connsiteX1" fmla="*/ 4731787 w 4732633"/>
              <a:gd name="connsiteY1" fmla="*/ 0 h 3680688"/>
              <a:gd name="connsiteX2" fmla="*/ 4731788 w 4732633"/>
              <a:gd name="connsiteY2" fmla="*/ 3680688 h 3680688"/>
              <a:gd name="connsiteX3" fmla="*/ 487781 w 4732633"/>
              <a:gd name="connsiteY3" fmla="*/ 3678203 h 3680688"/>
              <a:gd name="connsiteX4" fmla="*/ 592227 w 4732633"/>
              <a:gd name="connsiteY4" fmla="*/ 8808 h 3680688"/>
              <a:gd name="connsiteX0" fmla="*/ 590793 w 4734538"/>
              <a:gd name="connsiteY0" fmla="*/ 2174 h 3680688"/>
              <a:gd name="connsiteX1" fmla="*/ 4733692 w 4734538"/>
              <a:gd name="connsiteY1" fmla="*/ 0 h 3680688"/>
              <a:gd name="connsiteX2" fmla="*/ 4733693 w 4734538"/>
              <a:gd name="connsiteY2" fmla="*/ 3680688 h 3680688"/>
              <a:gd name="connsiteX3" fmla="*/ 489686 w 4734538"/>
              <a:gd name="connsiteY3" fmla="*/ 3678203 h 3680688"/>
              <a:gd name="connsiteX4" fmla="*/ 590793 w 4734538"/>
              <a:gd name="connsiteY4" fmla="*/ 2174 h 3680688"/>
              <a:gd name="connsiteX0" fmla="*/ 598022 w 4725068"/>
              <a:gd name="connsiteY0" fmla="*/ 0 h 3681831"/>
              <a:gd name="connsiteX1" fmla="*/ 4724222 w 4725068"/>
              <a:gd name="connsiteY1" fmla="*/ 1143 h 3681831"/>
              <a:gd name="connsiteX2" fmla="*/ 4724223 w 4725068"/>
              <a:gd name="connsiteY2" fmla="*/ 3681831 h 3681831"/>
              <a:gd name="connsiteX3" fmla="*/ 480216 w 4725068"/>
              <a:gd name="connsiteY3" fmla="*/ 3679346 h 3681831"/>
              <a:gd name="connsiteX4" fmla="*/ 598022 w 4725068"/>
              <a:gd name="connsiteY4" fmla="*/ 0 h 3681831"/>
              <a:gd name="connsiteX0" fmla="*/ 598022 w 4725068"/>
              <a:gd name="connsiteY0" fmla="*/ 0 h 3685148"/>
              <a:gd name="connsiteX1" fmla="*/ 4724222 w 4725068"/>
              <a:gd name="connsiteY1" fmla="*/ 4460 h 3685148"/>
              <a:gd name="connsiteX2" fmla="*/ 4724223 w 4725068"/>
              <a:gd name="connsiteY2" fmla="*/ 3685148 h 3685148"/>
              <a:gd name="connsiteX3" fmla="*/ 480216 w 4725068"/>
              <a:gd name="connsiteY3" fmla="*/ 3682663 h 3685148"/>
              <a:gd name="connsiteX4" fmla="*/ 598022 w 4725068"/>
              <a:gd name="connsiteY4" fmla="*/ 0 h 3685148"/>
              <a:gd name="connsiteX0" fmla="*/ 596565 w 4726950"/>
              <a:gd name="connsiteY0" fmla="*/ 2174 h 3680688"/>
              <a:gd name="connsiteX1" fmla="*/ 4726104 w 4726950"/>
              <a:gd name="connsiteY1" fmla="*/ 0 h 3680688"/>
              <a:gd name="connsiteX2" fmla="*/ 4726105 w 4726950"/>
              <a:gd name="connsiteY2" fmla="*/ 3680688 h 3680688"/>
              <a:gd name="connsiteX3" fmla="*/ 482098 w 4726950"/>
              <a:gd name="connsiteY3" fmla="*/ 3678203 h 3680688"/>
              <a:gd name="connsiteX4" fmla="*/ 596565 w 4726950"/>
              <a:gd name="connsiteY4" fmla="*/ 2174 h 3680688"/>
              <a:gd name="connsiteX0" fmla="*/ 600621 w 4731006"/>
              <a:gd name="connsiteY0" fmla="*/ 2174 h 3680688"/>
              <a:gd name="connsiteX1" fmla="*/ 4730160 w 4731006"/>
              <a:gd name="connsiteY1" fmla="*/ 0 h 3680688"/>
              <a:gd name="connsiteX2" fmla="*/ 4730161 w 4731006"/>
              <a:gd name="connsiteY2" fmla="*/ 3680688 h 3680688"/>
              <a:gd name="connsiteX3" fmla="*/ 486154 w 4731006"/>
              <a:gd name="connsiteY3" fmla="*/ 3678203 h 3680688"/>
              <a:gd name="connsiteX4" fmla="*/ 600621 w 4731006"/>
              <a:gd name="connsiteY4" fmla="*/ 2174 h 3680688"/>
              <a:gd name="connsiteX0" fmla="*/ 599177 w 4729562"/>
              <a:gd name="connsiteY0" fmla="*/ 2174 h 3688155"/>
              <a:gd name="connsiteX1" fmla="*/ 4728716 w 4729562"/>
              <a:gd name="connsiteY1" fmla="*/ 0 h 3688155"/>
              <a:gd name="connsiteX2" fmla="*/ 4728717 w 4729562"/>
              <a:gd name="connsiteY2" fmla="*/ 3680688 h 3688155"/>
              <a:gd name="connsiteX3" fmla="*/ 488050 w 4729562"/>
              <a:gd name="connsiteY3" fmla="*/ 3688155 h 3688155"/>
              <a:gd name="connsiteX4" fmla="*/ 599177 w 4729562"/>
              <a:gd name="connsiteY4" fmla="*/ 2174 h 3688155"/>
              <a:gd name="connsiteX0" fmla="*/ 599177 w 4729562"/>
              <a:gd name="connsiteY0" fmla="*/ 0 h 3685981"/>
              <a:gd name="connsiteX1" fmla="*/ 4728716 w 4729562"/>
              <a:gd name="connsiteY1" fmla="*/ 1143 h 3685981"/>
              <a:gd name="connsiteX2" fmla="*/ 4728717 w 4729562"/>
              <a:gd name="connsiteY2" fmla="*/ 3678514 h 3685981"/>
              <a:gd name="connsiteX3" fmla="*/ 488050 w 4729562"/>
              <a:gd name="connsiteY3" fmla="*/ 3685981 h 3685981"/>
              <a:gd name="connsiteX4" fmla="*/ 599177 w 4729562"/>
              <a:gd name="connsiteY4" fmla="*/ 0 h 3685981"/>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96304 w 4733368"/>
              <a:gd name="connsiteY0" fmla="*/ 5491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5491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85455 w 4722519"/>
              <a:gd name="connsiteY0" fmla="*/ 2174 h 3684838"/>
              <a:gd name="connsiteX1" fmla="*/ 4721673 w 4722519"/>
              <a:gd name="connsiteY1" fmla="*/ 0 h 3684838"/>
              <a:gd name="connsiteX2" fmla="*/ 4721674 w 4722519"/>
              <a:gd name="connsiteY2" fmla="*/ 3677371 h 3684838"/>
              <a:gd name="connsiteX3" fmla="*/ 481007 w 4722519"/>
              <a:gd name="connsiteY3" fmla="*/ 3684838 h 3684838"/>
              <a:gd name="connsiteX4" fmla="*/ 585455 w 4722519"/>
              <a:gd name="connsiteY4" fmla="*/ 2174 h 3684838"/>
              <a:gd name="connsiteX0" fmla="*/ 593586 w 4730650"/>
              <a:gd name="connsiteY0" fmla="*/ 2174 h 3684838"/>
              <a:gd name="connsiteX1" fmla="*/ 4729804 w 4730650"/>
              <a:gd name="connsiteY1" fmla="*/ 0 h 3684838"/>
              <a:gd name="connsiteX2" fmla="*/ 4729805 w 4730650"/>
              <a:gd name="connsiteY2" fmla="*/ 3677371 h 3684838"/>
              <a:gd name="connsiteX3" fmla="*/ 489138 w 4730650"/>
              <a:gd name="connsiteY3" fmla="*/ 3684838 h 3684838"/>
              <a:gd name="connsiteX4" fmla="*/ 593586 w 4730650"/>
              <a:gd name="connsiteY4" fmla="*/ 2174 h 3684838"/>
              <a:gd name="connsiteX0" fmla="*/ 593586 w 4736932"/>
              <a:gd name="connsiteY0" fmla="*/ 2174 h 3687322"/>
              <a:gd name="connsiteX1" fmla="*/ 4729804 w 4736932"/>
              <a:gd name="connsiteY1" fmla="*/ 0 h 3687322"/>
              <a:gd name="connsiteX2" fmla="*/ 4736485 w 4736932"/>
              <a:gd name="connsiteY2" fmla="*/ 3687322 h 3687322"/>
              <a:gd name="connsiteX3" fmla="*/ 489138 w 4736932"/>
              <a:gd name="connsiteY3" fmla="*/ 3684838 h 3687322"/>
              <a:gd name="connsiteX4" fmla="*/ 593586 w 4736932"/>
              <a:gd name="connsiteY4" fmla="*/ 2174 h 3687322"/>
              <a:gd name="connsiteX0" fmla="*/ 593586 w 4739824"/>
              <a:gd name="connsiteY0" fmla="*/ 2174 h 3687322"/>
              <a:gd name="connsiteX1" fmla="*/ 4739824 w 4739824"/>
              <a:gd name="connsiteY1" fmla="*/ 0 h 3687322"/>
              <a:gd name="connsiteX2" fmla="*/ 4736485 w 4739824"/>
              <a:gd name="connsiteY2" fmla="*/ 3687322 h 3687322"/>
              <a:gd name="connsiteX3" fmla="*/ 489138 w 4739824"/>
              <a:gd name="connsiteY3" fmla="*/ 3684838 h 3687322"/>
              <a:gd name="connsiteX4" fmla="*/ 593586 w 4739824"/>
              <a:gd name="connsiteY4" fmla="*/ 2174 h 3687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9824" h="3687322">
                <a:moveTo>
                  <a:pt x="593586" y="2174"/>
                </a:moveTo>
                <a:lnTo>
                  <a:pt x="4739824" y="0"/>
                </a:lnTo>
                <a:cubicBezTo>
                  <a:pt x="4736893" y="1360600"/>
                  <a:pt x="4739416" y="2326722"/>
                  <a:pt x="4736485" y="3687322"/>
                </a:cubicBezTo>
                <a:lnTo>
                  <a:pt x="489138" y="3684838"/>
                </a:lnTo>
                <a:cubicBezTo>
                  <a:pt x="18231" y="2928543"/>
                  <a:pt x="-365842" y="1442490"/>
                  <a:pt x="593586" y="2174"/>
                </a:cubicBezTo>
                <a:close/>
              </a:path>
            </a:pathLst>
          </a:custGeom>
        </p:spPr>
      </p:pic>
    </p:spTree>
    <p:extLst>
      <p:ext uri="{BB962C8B-B14F-4D97-AF65-F5344CB8AC3E}">
        <p14:creationId xmlns:p14="http://schemas.microsoft.com/office/powerpoint/2010/main" val="15404288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94885" y="3493084"/>
            <a:ext cx="5196316" cy="725311"/>
          </a:xfrm>
          <a:prstGeom prst="rect">
            <a:avLst/>
          </a:prstGeom>
        </p:spPr>
        <p:txBody>
          <a:bodyPr lIns="0" tIns="0" rIns="0" bIns="0" anchor="t" anchorCtr="0"/>
          <a:lstStyle>
            <a:lvl1pPr algn="l">
              <a:lnSpc>
                <a:spcPct val="100000"/>
              </a:lnSpc>
              <a:defRPr sz="2133"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594895" y="4341549"/>
            <a:ext cx="5196311" cy="205052"/>
          </a:xfrm>
          <a:prstGeom prst="rect">
            <a:avLst/>
          </a:prstGeom>
        </p:spPr>
        <p:txBody>
          <a:bodyPr lIns="0" tIns="0" rIns="0" bIns="0"/>
          <a:lstStyle>
            <a:lvl1pPr marL="0" indent="0" algn="l">
              <a:buNone/>
              <a:defRPr sz="1333" b="0" i="0" cap="none" spc="120" baseline="0">
                <a:solidFill>
                  <a:srgbClr val="FFFFFF"/>
                </a:solidFill>
                <a:latin typeface="Verdana"/>
                <a:cs typeface="Verdana"/>
              </a:defRPr>
            </a:lvl1pPr>
          </a:lstStyle>
          <a:p>
            <a:pPr lvl="0"/>
            <a:r>
              <a:rPr lang="en-GB" noProof="0"/>
              <a:t>Click to add subtitle</a:t>
            </a:r>
          </a:p>
        </p:txBody>
      </p:sp>
      <p:sp>
        <p:nvSpPr>
          <p:cNvPr id="14" name="Text Placeholder 19"/>
          <p:cNvSpPr>
            <a:spLocks noGrp="1"/>
          </p:cNvSpPr>
          <p:nvPr>
            <p:ph type="body" sz="quarter" idx="12" hasCustomPrompt="1"/>
          </p:nvPr>
        </p:nvSpPr>
        <p:spPr>
          <a:xfrm>
            <a:off x="609625" y="4863067"/>
            <a:ext cx="5187443" cy="205052"/>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609601" y="5113853"/>
            <a:ext cx="5187457"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pic>
        <p:nvPicPr>
          <p:cNvPr id="3" name="Picture Placeholder 7" descr="A person wearing headphones and holding a device&#10;&#10;Description automatically generated">
            <a:extLst>
              <a:ext uri="{FF2B5EF4-FFF2-40B4-BE49-F238E27FC236}">
                <a16:creationId xmlns:a16="http://schemas.microsoft.com/office/drawing/2014/main" id="{742738C1-054C-39F1-9C4E-05BF9C433190}"/>
              </a:ext>
            </a:extLst>
          </p:cNvPr>
          <p:cNvPicPr>
            <a:picLocks noChangeAspect="1"/>
          </p:cNvPicPr>
          <p:nvPr userDrawn="1"/>
        </p:nvPicPr>
        <p:blipFill>
          <a:blip r:embed="rId3"/>
          <a:srcRect l="83" r="83"/>
          <a:stretch>
            <a:fillRect/>
          </a:stretch>
        </p:blipFill>
        <p:spPr>
          <a:xfrm>
            <a:off x="6195661" y="2163797"/>
            <a:ext cx="6007968" cy="4705843"/>
          </a:xfrm>
          <a:custGeom>
            <a:avLst/>
            <a:gdLst>
              <a:gd name="connsiteX0" fmla="*/ 0 w 4115581"/>
              <a:gd name="connsiteY0" fmla="*/ 0 h 4073007"/>
              <a:gd name="connsiteX1" fmla="*/ 4115581 w 4115581"/>
              <a:gd name="connsiteY1" fmla="*/ 0 h 4073007"/>
              <a:gd name="connsiteX2" fmla="*/ 4115581 w 4115581"/>
              <a:gd name="connsiteY2" fmla="*/ 4073007 h 4073007"/>
              <a:gd name="connsiteX3" fmla="*/ 0 w 4115581"/>
              <a:gd name="connsiteY3" fmla="*/ 4073007 h 4073007"/>
              <a:gd name="connsiteX4" fmla="*/ 0 w 4115581"/>
              <a:gd name="connsiteY4" fmla="*/ 0 h 4073007"/>
              <a:gd name="connsiteX0" fmla="*/ 429846 w 4545427"/>
              <a:gd name="connsiteY0" fmla="*/ 0 h 4073007"/>
              <a:gd name="connsiteX1" fmla="*/ 4545427 w 4545427"/>
              <a:gd name="connsiteY1" fmla="*/ 0 h 4073007"/>
              <a:gd name="connsiteX2" fmla="*/ 4545427 w 4545427"/>
              <a:gd name="connsiteY2" fmla="*/ 4073007 h 4073007"/>
              <a:gd name="connsiteX3" fmla="*/ 429846 w 4545427"/>
              <a:gd name="connsiteY3" fmla="*/ 4073007 h 4073007"/>
              <a:gd name="connsiteX4" fmla="*/ 429846 w 4545427"/>
              <a:gd name="connsiteY4" fmla="*/ 0 h 4073007"/>
              <a:gd name="connsiteX0" fmla="*/ 563853 w 4679434"/>
              <a:gd name="connsiteY0" fmla="*/ 0 h 4073007"/>
              <a:gd name="connsiteX1" fmla="*/ 4679434 w 4679434"/>
              <a:gd name="connsiteY1" fmla="*/ 0 h 4073007"/>
              <a:gd name="connsiteX2" fmla="*/ 4679434 w 4679434"/>
              <a:gd name="connsiteY2" fmla="*/ 4073007 h 4073007"/>
              <a:gd name="connsiteX3" fmla="*/ 563853 w 4679434"/>
              <a:gd name="connsiteY3" fmla="*/ 4073007 h 4073007"/>
              <a:gd name="connsiteX4" fmla="*/ 563853 w 4679434"/>
              <a:gd name="connsiteY4" fmla="*/ 0 h 4073007"/>
              <a:gd name="connsiteX0" fmla="*/ 570773 w 4668769"/>
              <a:gd name="connsiteY0" fmla="*/ 0 h 4081799"/>
              <a:gd name="connsiteX1" fmla="*/ 4668769 w 4668769"/>
              <a:gd name="connsiteY1" fmla="*/ 8792 h 4081799"/>
              <a:gd name="connsiteX2" fmla="*/ 4668769 w 4668769"/>
              <a:gd name="connsiteY2" fmla="*/ 4081799 h 4081799"/>
              <a:gd name="connsiteX3" fmla="*/ 553188 w 4668769"/>
              <a:gd name="connsiteY3" fmla="*/ 4081799 h 4081799"/>
              <a:gd name="connsiteX4" fmla="*/ 570773 w 4668769"/>
              <a:gd name="connsiteY4" fmla="*/ 0 h 4081799"/>
              <a:gd name="connsiteX0" fmla="*/ 570773 w 4677561"/>
              <a:gd name="connsiteY0" fmla="*/ 1 h 4081800"/>
              <a:gd name="connsiteX1" fmla="*/ 4677561 w 4677561"/>
              <a:gd name="connsiteY1" fmla="*/ 0 h 4081800"/>
              <a:gd name="connsiteX2" fmla="*/ 4668769 w 4677561"/>
              <a:gd name="connsiteY2" fmla="*/ 4081800 h 4081800"/>
              <a:gd name="connsiteX3" fmla="*/ 553188 w 4677561"/>
              <a:gd name="connsiteY3" fmla="*/ 4081800 h 4081800"/>
              <a:gd name="connsiteX4" fmla="*/ 570773 w 4677561"/>
              <a:gd name="connsiteY4" fmla="*/ 1 h 4081800"/>
              <a:gd name="connsiteX0" fmla="*/ 599816 w 4706604"/>
              <a:gd name="connsiteY0" fmla="*/ 1 h 4081800"/>
              <a:gd name="connsiteX1" fmla="*/ 4706604 w 4706604"/>
              <a:gd name="connsiteY1" fmla="*/ 0 h 4081800"/>
              <a:gd name="connsiteX2" fmla="*/ 4697812 w 4706604"/>
              <a:gd name="connsiteY2" fmla="*/ 4081800 h 4081800"/>
              <a:gd name="connsiteX3" fmla="*/ 511892 w 4706604"/>
              <a:gd name="connsiteY3" fmla="*/ 3659769 h 4081800"/>
              <a:gd name="connsiteX4" fmla="*/ 599816 w 4706604"/>
              <a:gd name="connsiteY4" fmla="*/ 1 h 4081800"/>
              <a:gd name="connsiteX0" fmla="*/ 599816 w 4706604"/>
              <a:gd name="connsiteY0" fmla="*/ 1 h 3659769"/>
              <a:gd name="connsiteX1" fmla="*/ 4706604 w 4706604"/>
              <a:gd name="connsiteY1" fmla="*/ 0 h 3659769"/>
              <a:gd name="connsiteX2" fmla="*/ 4645059 w 4706604"/>
              <a:gd name="connsiteY2" fmla="*/ 3624600 h 3659769"/>
              <a:gd name="connsiteX3" fmla="*/ 511892 w 4706604"/>
              <a:gd name="connsiteY3" fmla="*/ 3659769 h 3659769"/>
              <a:gd name="connsiteX4" fmla="*/ 599816 w 4706604"/>
              <a:gd name="connsiteY4" fmla="*/ 1 h 3659769"/>
              <a:gd name="connsiteX0" fmla="*/ 599816 w 4707450"/>
              <a:gd name="connsiteY0" fmla="*/ 1 h 3659769"/>
              <a:gd name="connsiteX1" fmla="*/ 4706604 w 4707450"/>
              <a:gd name="connsiteY1" fmla="*/ 0 h 3659769"/>
              <a:gd name="connsiteX2" fmla="*/ 4706605 w 4707450"/>
              <a:gd name="connsiteY2" fmla="*/ 3650977 h 3659769"/>
              <a:gd name="connsiteX3" fmla="*/ 511892 w 4707450"/>
              <a:gd name="connsiteY3" fmla="*/ 3659769 h 3659769"/>
              <a:gd name="connsiteX4" fmla="*/ 599816 w 4707450"/>
              <a:gd name="connsiteY4" fmla="*/ 1 h 3659769"/>
              <a:gd name="connsiteX0" fmla="*/ 634214 w 4741848"/>
              <a:gd name="connsiteY0" fmla="*/ 1 h 3668316"/>
              <a:gd name="connsiteX1" fmla="*/ 4741002 w 4741848"/>
              <a:gd name="connsiteY1" fmla="*/ 0 h 3668316"/>
              <a:gd name="connsiteX2" fmla="*/ 4741003 w 4741848"/>
              <a:gd name="connsiteY2" fmla="*/ 3650977 h 3668316"/>
              <a:gd name="connsiteX3" fmla="*/ 469369 w 4741848"/>
              <a:gd name="connsiteY3" fmla="*/ 3668316 h 3668316"/>
              <a:gd name="connsiteX4" fmla="*/ 634214 w 4741848"/>
              <a:gd name="connsiteY4" fmla="*/ 1 h 3668316"/>
              <a:gd name="connsiteX0" fmla="*/ 642249 w 4732789"/>
              <a:gd name="connsiteY0" fmla="*/ 1 h 3668316"/>
              <a:gd name="connsiteX1" fmla="*/ 4731943 w 4732789"/>
              <a:gd name="connsiteY1" fmla="*/ 0 h 3668316"/>
              <a:gd name="connsiteX2" fmla="*/ 4731944 w 4732789"/>
              <a:gd name="connsiteY2" fmla="*/ 3650977 h 3668316"/>
              <a:gd name="connsiteX3" fmla="*/ 460310 w 4732789"/>
              <a:gd name="connsiteY3" fmla="*/ 3668316 h 3668316"/>
              <a:gd name="connsiteX4" fmla="*/ 642249 w 4732789"/>
              <a:gd name="connsiteY4" fmla="*/ 1 h 3668316"/>
              <a:gd name="connsiteX0" fmla="*/ 642249 w 4732789"/>
              <a:gd name="connsiteY0" fmla="*/ 1 h 3680688"/>
              <a:gd name="connsiteX1" fmla="*/ 4731943 w 4732789"/>
              <a:gd name="connsiteY1" fmla="*/ 0 h 3680688"/>
              <a:gd name="connsiteX2" fmla="*/ 4731944 w 4732789"/>
              <a:gd name="connsiteY2" fmla="*/ 3680688 h 3680688"/>
              <a:gd name="connsiteX3" fmla="*/ 460310 w 4732789"/>
              <a:gd name="connsiteY3" fmla="*/ 3668316 h 3680688"/>
              <a:gd name="connsiteX4" fmla="*/ 642249 w 4732789"/>
              <a:gd name="connsiteY4" fmla="*/ 1 h 3680688"/>
              <a:gd name="connsiteX0" fmla="*/ 642249 w 4732789"/>
              <a:gd name="connsiteY0" fmla="*/ 1 h 3681521"/>
              <a:gd name="connsiteX1" fmla="*/ 4731943 w 4732789"/>
              <a:gd name="connsiteY1" fmla="*/ 0 h 3681521"/>
              <a:gd name="connsiteX2" fmla="*/ 4731944 w 4732789"/>
              <a:gd name="connsiteY2" fmla="*/ 3680688 h 3681521"/>
              <a:gd name="connsiteX3" fmla="*/ 460310 w 4732789"/>
              <a:gd name="connsiteY3" fmla="*/ 3681521 h 3681521"/>
              <a:gd name="connsiteX4" fmla="*/ 642249 w 4732789"/>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36661 w 4760368"/>
              <a:gd name="connsiteY0" fmla="*/ 5491 h 3681521"/>
              <a:gd name="connsiteX1" fmla="*/ 4759522 w 4760368"/>
              <a:gd name="connsiteY1" fmla="*/ 0 h 3681521"/>
              <a:gd name="connsiteX2" fmla="*/ 4759523 w 4760368"/>
              <a:gd name="connsiteY2" fmla="*/ 3680688 h 3681521"/>
              <a:gd name="connsiteX3" fmla="*/ 487889 w 4760368"/>
              <a:gd name="connsiteY3" fmla="*/ 3681521 h 3681521"/>
              <a:gd name="connsiteX4" fmla="*/ 636661 w 4760368"/>
              <a:gd name="connsiteY4" fmla="*/ 5491 h 3681521"/>
              <a:gd name="connsiteX0" fmla="*/ 629168 w 4769574"/>
              <a:gd name="connsiteY0" fmla="*/ 8808 h 3681521"/>
              <a:gd name="connsiteX1" fmla="*/ 4768728 w 4769574"/>
              <a:gd name="connsiteY1" fmla="*/ 0 h 3681521"/>
              <a:gd name="connsiteX2" fmla="*/ 4768729 w 4769574"/>
              <a:gd name="connsiteY2" fmla="*/ 3680688 h 3681521"/>
              <a:gd name="connsiteX3" fmla="*/ 497095 w 4769574"/>
              <a:gd name="connsiteY3" fmla="*/ 3681521 h 3681521"/>
              <a:gd name="connsiteX4" fmla="*/ 629168 w 4769574"/>
              <a:gd name="connsiteY4" fmla="*/ 8808 h 3681521"/>
              <a:gd name="connsiteX0" fmla="*/ 601494 w 4741900"/>
              <a:gd name="connsiteY0" fmla="*/ 8808 h 3684838"/>
              <a:gd name="connsiteX1" fmla="*/ 4741054 w 4741900"/>
              <a:gd name="connsiteY1" fmla="*/ 0 h 3684838"/>
              <a:gd name="connsiteX2" fmla="*/ 4741055 w 4741900"/>
              <a:gd name="connsiteY2" fmla="*/ 3680688 h 3684838"/>
              <a:gd name="connsiteX3" fmla="*/ 533787 w 4741900"/>
              <a:gd name="connsiteY3" fmla="*/ 3684838 h 3684838"/>
              <a:gd name="connsiteX4" fmla="*/ 601494 w 4741900"/>
              <a:gd name="connsiteY4" fmla="*/ 8808 h 3684838"/>
              <a:gd name="connsiteX0" fmla="*/ 617057 w 4757463"/>
              <a:gd name="connsiteY0" fmla="*/ 8808 h 3680688"/>
              <a:gd name="connsiteX1" fmla="*/ 4756617 w 4757463"/>
              <a:gd name="connsiteY1" fmla="*/ 0 h 3680688"/>
              <a:gd name="connsiteX2" fmla="*/ 4756618 w 4757463"/>
              <a:gd name="connsiteY2" fmla="*/ 3680688 h 3680688"/>
              <a:gd name="connsiteX3" fmla="*/ 512611 w 4757463"/>
              <a:gd name="connsiteY3" fmla="*/ 3678203 h 3680688"/>
              <a:gd name="connsiteX4" fmla="*/ 617057 w 4757463"/>
              <a:gd name="connsiteY4" fmla="*/ 8808 h 3680688"/>
              <a:gd name="connsiteX0" fmla="*/ 602464 w 4742870"/>
              <a:gd name="connsiteY0" fmla="*/ 8808 h 3680688"/>
              <a:gd name="connsiteX1" fmla="*/ 4742024 w 4742870"/>
              <a:gd name="connsiteY1" fmla="*/ 0 h 3680688"/>
              <a:gd name="connsiteX2" fmla="*/ 4742025 w 4742870"/>
              <a:gd name="connsiteY2" fmla="*/ 3680688 h 3680688"/>
              <a:gd name="connsiteX3" fmla="*/ 498018 w 4742870"/>
              <a:gd name="connsiteY3" fmla="*/ 3678203 h 3680688"/>
              <a:gd name="connsiteX4" fmla="*/ 602464 w 4742870"/>
              <a:gd name="connsiteY4" fmla="*/ 8808 h 3680688"/>
              <a:gd name="connsiteX0" fmla="*/ 586378 w 4726784"/>
              <a:gd name="connsiteY0" fmla="*/ 8808 h 3680688"/>
              <a:gd name="connsiteX1" fmla="*/ 4725938 w 4726784"/>
              <a:gd name="connsiteY1" fmla="*/ 0 h 3680688"/>
              <a:gd name="connsiteX2" fmla="*/ 4725939 w 4726784"/>
              <a:gd name="connsiteY2" fmla="*/ 3680688 h 3680688"/>
              <a:gd name="connsiteX3" fmla="*/ 481932 w 4726784"/>
              <a:gd name="connsiteY3" fmla="*/ 3678203 h 3680688"/>
              <a:gd name="connsiteX4" fmla="*/ 586378 w 4726784"/>
              <a:gd name="connsiteY4" fmla="*/ 8808 h 3680688"/>
              <a:gd name="connsiteX0" fmla="*/ 575515 w 4715921"/>
              <a:gd name="connsiteY0" fmla="*/ 8808 h 3680688"/>
              <a:gd name="connsiteX1" fmla="*/ 4715075 w 4715921"/>
              <a:gd name="connsiteY1" fmla="*/ 0 h 3680688"/>
              <a:gd name="connsiteX2" fmla="*/ 4715076 w 4715921"/>
              <a:gd name="connsiteY2" fmla="*/ 3680688 h 3680688"/>
              <a:gd name="connsiteX3" fmla="*/ 471069 w 4715921"/>
              <a:gd name="connsiteY3" fmla="*/ 3678203 h 3680688"/>
              <a:gd name="connsiteX4" fmla="*/ 575515 w 4715921"/>
              <a:gd name="connsiteY4" fmla="*/ 8808 h 3680688"/>
              <a:gd name="connsiteX0" fmla="*/ 587738 w 4728144"/>
              <a:gd name="connsiteY0" fmla="*/ 8808 h 3680688"/>
              <a:gd name="connsiteX1" fmla="*/ 4727298 w 4728144"/>
              <a:gd name="connsiteY1" fmla="*/ 0 h 3680688"/>
              <a:gd name="connsiteX2" fmla="*/ 4727299 w 4728144"/>
              <a:gd name="connsiteY2" fmla="*/ 3680688 h 3680688"/>
              <a:gd name="connsiteX3" fmla="*/ 483292 w 4728144"/>
              <a:gd name="connsiteY3" fmla="*/ 3678203 h 3680688"/>
              <a:gd name="connsiteX4" fmla="*/ 587738 w 4728144"/>
              <a:gd name="connsiteY4" fmla="*/ 8808 h 3680688"/>
              <a:gd name="connsiteX0" fmla="*/ 592227 w 4732633"/>
              <a:gd name="connsiteY0" fmla="*/ 8808 h 3680688"/>
              <a:gd name="connsiteX1" fmla="*/ 4731787 w 4732633"/>
              <a:gd name="connsiteY1" fmla="*/ 0 h 3680688"/>
              <a:gd name="connsiteX2" fmla="*/ 4731788 w 4732633"/>
              <a:gd name="connsiteY2" fmla="*/ 3680688 h 3680688"/>
              <a:gd name="connsiteX3" fmla="*/ 487781 w 4732633"/>
              <a:gd name="connsiteY3" fmla="*/ 3678203 h 3680688"/>
              <a:gd name="connsiteX4" fmla="*/ 592227 w 4732633"/>
              <a:gd name="connsiteY4" fmla="*/ 8808 h 3680688"/>
              <a:gd name="connsiteX0" fmla="*/ 590793 w 4734538"/>
              <a:gd name="connsiteY0" fmla="*/ 2174 h 3680688"/>
              <a:gd name="connsiteX1" fmla="*/ 4733692 w 4734538"/>
              <a:gd name="connsiteY1" fmla="*/ 0 h 3680688"/>
              <a:gd name="connsiteX2" fmla="*/ 4733693 w 4734538"/>
              <a:gd name="connsiteY2" fmla="*/ 3680688 h 3680688"/>
              <a:gd name="connsiteX3" fmla="*/ 489686 w 4734538"/>
              <a:gd name="connsiteY3" fmla="*/ 3678203 h 3680688"/>
              <a:gd name="connsiteX4" fmla="*/ 590793 w 4734538"/>
              <a:gd name="connsiteY4" fmla="*/ 2174 h 3680688"/>
              <a:gd name="connsiteX0" fmla="*/ 598022 w 4725068"/>
              <a:gd name="connsiteY0" fmla="*/ 0 h 3681831"/>
              <a:gd name="connsiteX1" fmla="*/ 4724222 w 4725068"/>
              <a:gd name="connsiteY1" fmla="*/ 1143 h 3681831"/>
              <a:gd name="connsiteX2" fmla="*/ 4724223 w 4725068"/>
              <a:gd name="connsiteY2" fmla="*/ 3681831 h 3681831"/>
              <a:gd name="connsiteX3" fmla="*/ 480216 w 4725068"/>
              <a:gd name="connsiteY3" fmla="*/ 3679346 h 3681831"/>
              <a:gd name="connsiteX4" fmla="*/ 598022 w 4725068"/>
              <a:gd name="connsiteY4" fmla="*/ 0 h 3681831"/>
              <a:gd name="connsiteX0" fmla="*/ 598022 w 4725068"/>
              <a:gd name="connsiteY0" fmla="*/ 0 h 3685148"/>
              <a:gd name="connsiteX1" fmla="*/ 4724222 w 4725068"/>
              <a:gd name="connsiteY1" fmla="*/ 4460 h 3685148"/>
              <a:gd name="connsiteX2" fmla="*/ 4724223 w 4725068"/>
              <a:gd name="connsiteY2" fmla="*/ 3685148 h 3685148"/>
              <a:gd name="connsiteX3" fmla="*/ 480216 w 4725068"/>
              <a:gd name="connsiteY3" fmla="*/ 3682663 h 3685148"/>
              <a:gd name="connsiteX4" fmla="*/ 598022 w 4725068"/>
              <a:gd name="connsiteY4" fmla="*/ 0 h 3685148"/>
              <a:gd name="connsiteX0" fmla="*/ 596565 w 4726950"/>
              <a:gd name="connsiteY0" fmla="*/ 2174 h 3680688"/>
              <a:gd name="connsiteX1" fmla="*/ 4726104 w 4726950"/>
              <a:gd name="connsiteY1" fmla="*/ 0 h 3680688"/>
              <a:gd name="connsiteX2" fmla="*/ 4726105 w 4726950"/>
              <a:gd name="connsiteY2" fmla="*/ 3680688 h 3680688"/>
              <a:gd name="connsiteX3" fmla="*/ 482098 w 4726950"/>
              <a:gd name="connsiteY3" fmla="*/ 3678203 h 3680688"/>
              <a:gd name="connsiteX4" fmla="*/ 596565 w 4726950"/>
              <a:gd name="connsiteY4" fmla="*/ 2174 h 3680688"/>
              <a:gd name="connsiteX0" fmla="*/ 600621 w 4731006"/>
              <a:gd name="connsiteY0" fmla="*/ 2174 h 3680688"/>
              <a:gd name="connsiteX1" fmla="*/ 4730160 w 4731006"/>
              <a:gd name="connsiteY1" fmla="*/ 0 h 3680688"/>
              <a:gd name="connsiteX2" fmla="*/ 4730161 w 4731006"/>
              <a:gd name="connsiteY2" fmla="*/ 3680688 h 3680688"/>
              <a:gd name="connsiteX3" fmla="*/ 486154 w 4731006"/>
              <a:gd name="connsiteY3" fmla="*/ 3678203 h 3680688"/>
              <a:gd name="connsiteX4" fmla="*/ 600621 w 4731006"/>
              <a:gd name="connsiteY4" fmla="*/ 2174 h 3680688"/>
              <a:gd name="connsiteX0" fmla="*/ 599177 w 4729562"/>
              <a:gd name="connsiteY0" fmla="*/ 2174 h 3688155"/>
              <a:gd name="connsiteX1" fmla="*/ 4728716 w 4729562"/>
              <a:gd name="connsiteY1" fmla="*/ 0 h 3688155"/>
              <a:gd name="connsiteX2" fmla="*/ 4728717 w 4729562"/>
              <a:gd name="connsiteY2" fmla="*/ 3680688 h 3688155"/>
              <a:gd name="connsiteX3" fmla="*/ 488050 w 4729562"/>
              <a:gd name="connsiteY3" fmla="*/ 3688155 h 3688155"/>
              <a:gd name="connsiteX4" fmla="*/ 599177 w 4729562"/>
              <a:gd name="connsiteY4" fmla="*/ 2174 h 3688155"/>
              <a:gd name="connsiteX0" fmla="*/ 599177 w 4729562"/>
              <a:gd name="connsiteY0" fmla="*/ 0 h 3685981"/>
              <a:gd name="connsiteX1" fmla="*/ 4728716 w 4729562"/>
              <a:gd name="connsiteY1" fmla="*/ 1143 h 3685981"/>
              <a:gd name="connsiteX2" fmla="*/ 4728717 w 4729562"/>
              <a:gd name="connsiteY2" fmla="*/ 3678514 h 3685981"/>
              <a:gd name="connsiteX3" fmla="*/ 488050 w 4729562"/>
              <a:gd name="connsiteY3" fmla="*/ 3685981 h 3685981"/>
              <a:gd name="connsiteX4" fmla="*/ 599177 w 4729562"/>
              <a:gd name="connsiteY4" fmla="*/ 0 h 3685981"/>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96304 w 4733368"/>
              <a:gd name="connsiteY0" fmla="*/ 5491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5491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85455 w 4722519"/>
              <a:gd name="connsiteY0" fmla="*/ 2174 h 3684838"/>
              <a:gd name="connsiteX1" fmla="*/ 4721673 w 4722519"/>
              <a:gd name="connsiteY1" fmla="*/ 0 h 3684838"/>
              <a:gd name="connsiteX2" fmla="*/ 4721674 w 4722519"/>
              <a:gd name="connsiteY2" fmla="*/ 3677371 h 3684838"/>
              <a:gd name="connsiteX3" fmla="*/ 481007 w 4722519"/>
              <a:gd name="connsiteY3" fmla="*/ 3684838 h 3684838"/>
              <a:gd name="connsiteX4" fmla="*/ 585455 w 4722519"/>
              <a:gd name="connsiteY4" fmla="*/ 2174 h 3684838"/>
              <a:gd name="connsiteX0" fmla="*/ 593586 w 4730650"/>
              <a:gd name="connsiteY0" fmla="*/ 2174 h 3684838"/>
              <a:gd name="connsiteX1" fmla="*/ 4729804 w 4730650"/>
              <a:gd name="connsiteY1" fmla="*/ 0 h 3684838"/>
              <a:gd name="connsiteX2" fmla="*/ 4729805 w 4730650"/>
              <a:gd name="connsiteY2" fmla="*/ 3677371 h 3684838"/>
              <a:gd name="connsiteX3" fmla="*/ 489138 w 4730650"/>
              <a:gd name="connsiteY3" fmla="*/ 3684838 h 3684838"/>
              <a:gd name="connsiteX4" fmla="*/ 593586 w 4730650"/>
              <a:gd name="connsiteY4" fmla="*/ 2174 h 3684838"/>
              <a:gd name="connsiteX0" fmla="*/ 593586 w 4736932"/>
              <a:gd name="connsiteY0" fmla="*/ 2174 h 3687322"/>
              <a:gd name="connsiteX1" fmla="*/ 4729804 w 4736932"/>
              <a:gd name="connsiteY1" fmla="*/ 0 h 3687322"/>
              <a:gd name="connsiteX2" fmla="*/ 4736485 w 4736932"/>
              <a:gd name="connsiteY2" fmla="*/ 3687322 h 3687322"/>
              <a:gd name="connsiteX3" fmla="*/ 489138 w 4736932"/>
              <a:gd name="connsiteY3" fmla="*/ 3684838 h 3687322"/>
              <a:gd name="connsiteX4" fmla="*/ 593586 w 4736932"/>
              <a:gd name="connsiteY4" fmla="*/ 2174 h 3687322"/>
              <a:gd name="connsiteX0" fmla="*/ 593586 w 4739824"/>
              <a:gd name="connsiteY0" fmla="*/ 2174 h 3687322"/>
              <a:gd name="connsiteX1" fmla="*/ 4739824 w 4739824"/>
              <a:gd name="connsiteY1" fmla="*/ 0 h 3687322"/>
              <a:gd name="connsiteX2" fmla="*/ 4736485 w 4739824"/>
              <a:gd name="connsiteY2" fmla="*/ 3687322 h 3687322"/>
              <a:gd name="connsiteX3" fmla="*/ 489138 w 4739824"/>
              <a:gd name="connsiteY3" fmla="*/ 3684838 h 3687322"/>
              <a:gd name="connsiteX4" fmla="*/ 593586 w 4739824"/>
              <a:gd name="connsiteY4" fmla="*/ 2174 h 3687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9824" h="3687322">
                <a:moveTo>
                  <a:pt x="593586" y="2174"/>
                </a:moveTo>
                <a:lnTo>
                  <a:pt x="4739824" y="0"/>
                </a:lnTo>
                <a:cubicBezTo>
                  <a:pt x="4736893" y="1360600"/>
                  <a:pt x="4739416" y="2326722"/>
                  <a:pt x="4736485" y="3687322"/>
                </a:cubicBezTo>
                <a:lnTo>
                  <a:pt x="489138" y="3684838"/>
                </a:lnTo>
                <a:cubicBezTo>
                  <a:pt x="18231" y="2928543"/>
                  <a:pt x="-365842" y="1442490"/>
                  <a:pt x="593586" y="2174"/>
                </a:cubicBezTo>
                <a:close/>
              </a:path>
            </a:pathLst>
          </a:custGeom>
        </p:spPr>
      </p:pic>
    </p:spTree>
    <p:extLst>
      <p:ext uri="{BB962C8B-B14F-4D97-AF65-F5344CB8AC3E}">
        <p14:creationId xmlns:p14="http://schemas.microsoft.com/office/powerpoint/2010/main" val="15834865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94885" y="3493084"/>
            <a:ext cx="5196316" cy="725311"/>
          </a:xfrm>
          <a:prstGeom prst="rect">
            <a:avLst/>
          </a:prstGeom>
        </p:spPr>
        <p:txBody>
          <a:bodyPr lIns="0" tIns="0" rIns="0" bIns="0" anchor="t" anchorCtr="0"/>
          <a:lstStyle>
            <a:lvl1pPr algn="l">
              <a:lnSpc>
                <a:spcPct val="100000"/>
              </a:lnSpc>
              <a:defRPr sz="2133"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594895" y="4341549"/>
            <a:ext cx="5196311" cy="205052"/>
          </a:xfrm>
          <a:prstGeom prst="rect">
            <a:avLst/>
          </a:prstGeom>
        </p:spPr>
        <p:txBody>
          <a:bodyPr lIns="0" tIns="0" rIns="0" bIns="0"/>
          <a:lstStyle>
            <a:lvl1pPr marL="0" indent="0" algn="l">
              <a:buNone/>
              <a:defRPr sz="1333" b="0" i="0" cap="none" spc="120" baseline="0">
                <a:solidFill>
                  <a:srgbClr val="FFFFFF"/>
                </a:solidFill>
                <a:latin typeface="Verdana"/>
                <a:cs typeface="Verdana"/>
              </a:defRPr>
            </a:lvl1pPr>
          </a:lstStyle>
          <a:p>
            <a:pPr lvl="0"/>
            <a:r>
              <a:rPr lang="en-GB" noProof="0"/>
              <a:t>Click to add subtitle</a:t>
            </a:r>
          </a:p>
        </p:txBody>
      </p:sp>
      <p:sp>
        <p:nvSpPr>
          <p:cNvPr id="14" name="Text Placeholder 19"/>
          <p:cNvSpPr>
            <a:spLocks noGrp="1"/>
          </p:cNvSpPr>
          <p:nvPr>
            <p:ph type="body" sz="quarter" idx="12" hasCustomPrompt="1"/>
          </p:nvPr>
        </p:nvSpPr>
        <p:spPr>
          <a:xfrm>
            <a:off x="609625" y="4863067"/>
            <a:ext cx="5187443" cy="205052"/>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609601" y="5113853"/>
            <a:ext cx="5187457"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pic>
        <p:nvPicPr>
          <p:cNvPr id="2" name="Picture Placeholder 7" descr="A person and a child shopping at a store&#10;&#10;Description automatically generated">
            <a:extLst>
              <a:ext uri="{FF2B5EF4-FFF2-40B4-BE49-F238E27FC236}">
                <a16:creationId xmlns:a16="http://schemas.microsoft.com/office/drawing/2014/main" id="{D6480E08-D0D5-3D23-C669-B39B327F3A8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6195661" y="2163797"/>
            <a:ext cx="6007968" cy="4705843"/>
          </a:xfrm>
          <a:custGeom>
            <a:avLst/>
            <a:gdLst>
              <a:gd name="connsiteX0" fmla="*/ 0 w 4115581"/>
              <a:gd name="connsiteY0" fmla="*/ 0 h 4073007"/>
              <a:gd name="connsiteX1" fmla="*/ 4115581 w 4115581"/>
              <a:gd name="connsiteY1" fmla="*/ 0 h 4073007"/>
              <a:gd name="connsiteX2" fmla="*/ 4115581 w 4115581"/>
              <a:gd name="connsiteY2" fmla="*/ 4073007 h 4073007"/>
              <a:gd name="connsiteX3" fmla="*/ 0 w 4115581"/>
              <a:gd name="connsiteY3" fmla="*/ 4073007 h 4073007"/>
              <a:gd name="connsiteX4" fmla="*/ 0 w 4115581"/>
              <a:gd name="connsiteY4" fmla="*/ 0 h 4073007"/>
              <a:gd name="connsiteX0" fmla="*/ 429846 w 4545427"/>
              <a:gd name="connsiteY0" fmla="*/ 0 h 4073007"/>
              <a:gd name="connsiteX1" fmla="*/ 4545427 w 4545427"/>
              <a:gd name="connsiteY1" fmla="*/ 0 h 4073007"/>
              <a:gd name="connsiteX2" fmla="*/ 4545427 w 4545427"/>
              <a:gd name="connsiteY2" fmla="*/ 4073007 h 4073007"/>
              <a:gd name="connsiteX3" fmla="*/ 429846 w 4545427"/>
              <a:gd name="connsiteY3" fmla="*/ 4073007 h 4073007"/>
              <a:gd name="connsiteX4" fmla="*/ 429846 w 4545427"/>
              <a:gd name="connsiteY4" fmla="*/ 0 h 4073007"/>
              <a:gd name="connsiteX0" fmla="*/ 563853 w 4679434"/>
              <a:gd name="connsiteY0" fmla="*/ 0 h 4073007"/>
              <a:gd name="connsiteX1" fmla="*/ 4679434 w 4679434"/>
              <a:gd name="connsiteY1" fmla="*/ 0 h 4073007"/>
              <a:gd name="connsiteX2" fmla="*/ 4679434 w 4679434"/>
              <a:gd name="connsiteY2" fmla="*/ 4073007 h 4073007"/>
              <a:gd name="connsiteX3" fmla="*/ 563853 w 4679434"/>
              <a:gd name="connsiteY3" fmla="*/ 4073007 h 4073007"/>
              <a:gd name="connsiteX4" fmla="*/ 563853 w 4679434"/>
              <a:gd name="connsiteY4" fmla="*/ 0 h 4073007"/>
              <a:gd name="connsiteX0" fmla="*/ 570773 w 4668769"/>
              <a:gd name="connsiteY0" fmla="*/ 0 h 4081799"/>
              <a:gd name="connsiteX1" fmla="*/ 4668769 w 4668769"/>
              <a:gd name="connsiteY1" fmla="*/ 8792 h 4081799"/>
              <a:gd name="connsiteX2" fmla="*/ 4668769 w 4668769"/>
              <a:gd name="connsiteY2" fmla="*/ 4081799 h 4081799"/>
              <a:gd name="connsiteX3" fmla="*/ 553188 w 4668769"/>
              <a:gd name="connsiteY3" fmla="*/ 4081799 h 4081799"/>
              <a:gd name="connsiteX4" fmla="*/ 570773 w 4668769"/>
              <a:gd name="connsiteY4" fmla="*/ 0 h 4081799"/>
              <a:gd name="connsiteX0" fmla="*/ 570773 w 4677561"/>
              <a:gd name="connsiteY0" fmla="*/ 1 h 4081800"/>
              <a:gd name="connsiteX1" fmla="*/ 4677561 w 4677561"/>
              <a:gd name="connsiteY1" fmla="*/ 0 h 4081800"/>
              <a:gd name="connsiteX2" fmla="*/ 4668769 w 4677561"/>
              <a:gd name="connsiteY2" fmla="*/ 4081800 h 4081800"/>
              <a:gd name="connsiteX3" fmla="*/ 553188 w 4677561"/>
              <a:gd name="connsiteY3" fmla="*/ 4081800 h 4081800"/>
              <a:gd name="connsiteX4" fmla="*/ 570773 w 4677561"/>
              <a:gd name="connsiteY4" fmla="*/ 1 h 4081800"/>
              <a:gd name="connsiteX0" fmla="*/ 599816 w 4706604"/>
              <a:gd name="connsiteY0" fmla="*/ 1 h 4081800"/>
              <a:gd name="connsiteX1" fmla="*/ 4706604 w 4706604"/>
              <a:gd name="connsiteY1" fmla="*/ 0 h 4081800"/>
              <a:gd name="connsiteX2" fmla="*/ 4697812 w 4706604"/>
              <a:gd name="connsiteY2" fmla="*/ 4081800 h 4081800"/>
              <a:gd name="connsiteX3" fmla="*/ 511892 w 4706604"/>
              <a:gd name="connsiteY3" fmla="*/ 3659769 h 4081800"/>
              <a:gd name="connsiteX4" fmla="*/ 599816 w 4706604"/>
              <a:gd name="connsiteY4" fmla="*/ 1 h 4081800"/>
              <a:gd name="connsiteX0" fmla="*/ 599816 w 4706604"/>
              <a:gd name="connsiteY0" fmla="*/ 1 h 3659769"/>
              <a:gd name="connsiteX1" fmla="*/ 4706604 w 4706604"/>
              <a:gd name="connsiteY1" fmla="*/ 0 h 3659769"/>
              <a:gd name="connsiteX2" fmla="*/ 4645059 w 4706604"/>
              <a:gd name="connsiteY2" fmla="*/ 3624600 h 3659769"/>
              <a:gd name="connsiteX3" fmla="*/ 511892 w 4706604"/>
              <a:gd name="connsiteY3" fmla="*/ 3659769 h 3659769"/>
              <a:gd name="connsiteX4" fmla="*/ 599816 w 4706604"/>
              <a:gd name="connsiteY4" fmla="*/ 1 h 3659769"/>
              <a:gd name="connsiteX0" fmla="*/ 599816 w 4707450"/>
              <a:gd name="connsiteY0" fmla="*/ 1 h 3659769"/>
              <a:gd name="connsiteX1" fmla="*/ 4706604 w 4707450"/>
              <a:gd name="connsiteY1" fmla="*/ 0 h 3659769"/>
              <a:gd name="connsiteX2" fmla="*/ 4706605 w 4707450"/>
              <a:gd name="connsiteY2" fmla="*/ 3650977 h 3659769"/>
              <a:gd name="connsiteX3" fmla="*/ 511892 w 4707450"/>
              <a:gd name="connsiteY3" fmla="*/ 3659769 h 3659769"/>
              <a:gd name="connsiteX4" fmla="*/ 599816 w 4707450"/>
              <a:gd name="connsiteY4" fmla="*/ 1 h 3659769"/>
              <a:gd name="connsiteX0" fmla="*/ 634214 w 4741848"/>
              <a:gd name="connsiteY0" fmla="*/ 1 h 3668316"/>
              <a:gd name="connsiteX1" fmla="*/ 4741002 w 4741848"/>
              <a:gd name="connsiteY1" fmla="*/ 0 h 3668316"/>
              <a:gd name="connsiteX2" fmla="*/ 4741003 w 4741848"/>
              <a:gd name="connsiteY2" fmla="*/ 3650977 h 3668316"/>
              <a:gd name="connsiteX3" fmla="*/ 469369 w 4741848"/>
              <a:gd name="connsiteY3" fmla="*/ 3668316 h 3668316"/>
              <a:gd name="connsiteX4" fmla="*/ 634214 w 4741848"/>
              <a:gd name="connsiteY4" fmla="*/ 1 h 3668316"/>
              <a:gd name="connsiteX0" fmla="*/ 642249 w 4732789"/>
              <a:gd name="connsiteY0" fmla="*/ 1 h 3668316"/>
              <a:gd name="connsiteX1" fmla="*/ 4731943 w 4732789"/>
              <a:gd name="connsiteY1" fmla="*/ 0 h 3668316"/>
              <a:gd name="connsiteX2" fmla="*/ 4731944 w 4732789"/>
              <a:gd name="connsiteY2" fmla="*/ 3650977 h 3668316"/>
              <a:gd name="connsiteX3" fmla="*/ 460310 w 4732789"/>
              <a:gd name="connsiteY3" fmla="*/ 3668316 h 3668316"/>
              <a:gd name="connsiteX4" fmla="*/ 642249 w 4732789"/>
              <a:gd name="connsiteY4" fmla="*/ 1 h 3668316"/>
              <a:gd name="connsiteX0" fmla="*/ 642249 w 4732789"/>
              <a:gd name="connsiteY0" fmla="*/ 1 h 3680688"/>
              <a:gd name="connsiteX1" fmla="*/ 4731943 w 4732789"/>
              <a:gd name="connsiteY1" fmla="*/ 0 h 3680688"/>
              <a:gd name="connsiteX2" fmla="*/ 4731944 w 4732789"/>
              <a:gd name="connsiteY2" fmla="*/ 3680688 h 3680688"/>
              <a:gd name="connsiteX3" fmla="*/ 460310 w 4732789"/>
              <a:gd name="connsiteY3" fmla="*/ 3668316 h 3680688"/>
              <a:gd name="connsiteX4" fmla="*/ 642249 w 4732789"/>
              <a:gd name="connsiteY4" fmla="*/ 1 h 3680688"/>
              <a:gd name="connsiteX0" fmla="*/ 642249 w 4732789"/>
              <a:gd name="connsiteY0" fmla="*/ 1 h 3681521"/>
              <a:gd name="connsiteX1" fmla="*/ 4731943 w 4732789"/>
              <a:gd name="connsiteY1" fmla="*/ 0 h 3681521"/>
              <a:gd name="connsiteX2" fmla="*/ 4731944 w 4732789"/>
              <a:gd name="connsiteY2" fmla="*/ 3680688 h 3681521"/>
              <a:gd name="connsiteX3" fmla="*/ 460310 w 4732789"/>
              <a:gd name="connsiteY3" fmla="*/ 3681521 h 3681521"/>
              <a:gd name="connsiteX4" fmla="*/ 642249 w 4732789"/>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36661 w 4760368"/>
              <a:gd name="connsiteY0" fmla="*/ 5491 h 3681521"/>
              <a:gd name="connsiteX1" fmla="*/ 4759522 w 4760368"/>
              <a:gd name="connsiteY1" fmla="*/ 0 h 3681521"/>
              <a:gd name="connsiteX2" fmla="*/ 4759523 w 4760368"/>
              <a:gd name="connsiteY2" fmla="*/ 3680688 h 3681521"/>
              <a:gd name="connsiteX3" fmla="*/ 487889 w 4760368"/>
              <a:gd name="connsiteY3" fmla="*/ 3681521 h 3681521"/>
              <a:gd name="connsiteX4" fmla="*/ 636661 w 4760368"/>
              <a:gd name="connsiteY4" fmla="*/ 5491 h 3681521"/>
              <a:gd name="connsiteX0" fmla="*/ 629168 w 4769574"/>
              <a:gd name="connsiteY0" fmla="*/ 8808 h 3681521"/>
              <a:gd name="connsiteX1" fmla="*/ 4768728 w 4769574"/>
              <a:gd name="connsiteY1" fmla="*/ 0 h 3681521"/>
              <a:gd name="connsiteX2" fmla="*/ 4768729 w 4769574"/>
              <a:gd name="connsiteY2" fmla="*/ 3680688 h 3681521"/>
              <a:gd name="connsiteX3" fmla="*/ 497095 w 4769574"/>
              <a:gd name="connsiteY3" fmla="*/ 3681521 h 3681521"/>
              <a:gd name="connsiteX4" fmla="*/ 629168 w 4769574"/>
              <a:gd name="connsiteY4" fmla="*/ 8808 h 3681521"/>
              <a:gd name="connsiteX0" fmla="*/ 601494 w 4741900"/>
              <a:gd name="connsiteY0" fmla="*/ 8808 h 3684838"/>
              <a:gd name="connsiteX1" fmla="*/ 4741054 w 4741900"/>
              <a:gd name="connsiteY1" fmla="*/ 0 h 3684838"/>
              <a:gd name="connsiteX2" fmla="*/ 4741055 w 4741900"/>
              <a:gd name="connsiteY2" fmla="*/ 3680688 h 3684838"/>
              <a:gd name="connsiteX3" fmla="*/ 533787 w 4741900"/>
              <a:gd name="connsiteY3" fmla="*/ 3684838 h 3684838"/>
              <a:gd name="connsiteX4" fmla="*/ 601494 w 4741900"/>
              <a:gd name="connsiteY4" fmla="*/ 8808 h 3684838"/>
              <a:gd name="connsiteX0" fmla="*/ 617057 w 4757463"/>
              <a:gd name="connsiteY0" fmla="*/ 8808 h 3680688"/>
              <a:gd name="connsiteX1" fmla="*/ 4756617 w 4757463"/>
              <a:gd name="connsiteY1" fmla="*/ 0 h 3680688"/>
              <a:gd name="connsiteX2" fmla="*/ 4756618 w 4757463"/>
              <a:gd name="connsiteY2" fmla="*/ 3680688 h 3680688"/>
              <a:gd name="connsiteX3" fmla="*/ 512611 w 4757463"/>
              <a:gd name="connsiteY3" fmla="*/ 3678203 h 3680688"/>
              <a:gd name="connsiteX4" fmla="*/ 617057 w 4757463"/>
              <a:gd name="connsiteY4" fmla="*/ 8808 h 3680688"/>
              <a:gd name="connsiteX0" fmla="*/ 602464 w 4742870"/>
              <a:gd name="connsiteY0" fmla="*/ 8808 h 3680688"/>
              <a:gd name="connsiteX1" fmla="*/ 4742024 w 4742870"/>
              <a:gd name="connsiteY1" fmla="*/ 0 h 3680688"/>
              <a:gd name="connsiteX2" fmla="*/ 4742025 w 4742870"/>
              <a:gd name="connsiteY2" fmla="*/ 3680688 h 3680688"/>
              <a:gd name="connsiteX3" fmla="*/ 498018 w 4742870"/>
              <a:gd name="connsiteY3" fmla="*/ 3678203 h 3680688"/>
              <a:gd name="connsiteX4" fmla="*/ 602464 w 4742870"/>
              <a:gd name="connsiteY4" fmla="*/ 8808 h 3680688"/>
              <a:gd name="connsiteX0" fmla="*/ 586378 w 4726784"/>
              <a:gd name="connsiteY0" fmla="*/ 8808 h 3680688"/>
              <a:gd name="connsiteX1" fmla="*/ 4725938 w 4726784"/>
              <a:gd name="connsiteY1" fmla="*/ 0 h 3680688"/>
              <a:gd name="connsiteX2" fmla="*/ 4725939 w 4726784"/>
              <a:gd name="connsiteY2" fmla="*/ 3680688 h 3680688"/>
              <a:gd name="connsiteX3" fmla="*/ 481932 w 4726784"/>
              <a:gd name="connsiteY3" fmla="*/ 3678203 h 3680688"/>
              <a:gd name="connsiteX4" fmla="*/ 586378 w 4726784"/>
              <a:gd name="connsiteY4" fmla="*/ 8808 h 3680688"/>
              <a:gd name="connsiteX0" fmla="*/ 575515 w 4715921"/>
              <a:gd name="connsiteY0" fmla="*/ 8808 h 3680688"/>
              <a:gd name="connsiteX1" fmla="*/ 4715075 w 4715921"/>
              <a:gd name="connsiteY1" fmla="*/ 0 h 3680688"/>
              <a:gd name="connsiteX2" fmla="*/ 4715076 w 4715921"/>
              <a:gd name="connsiteY2" fmla="*/ 3680688 h 3680688"/>
              <a:gd name="connsiteX3" fmla="*/ 471069 w 4715921"/>
              <a:gd name="connsiteY3" fmla="*/ 3678203 h 3680688"/>
              <a:gd name="connsiteX4" fmla="*/ 575515 w 4715921"/>
              <a:gd name="connsiteY4" fmla="*/ 8808 h 3680688"/>
              <a:gd name="connsiteX0" fmla="*/ 587738 w 4728144"/>
              <a:gd name="connsiteY0" fmla="*/ 8808 h 3680688"/>
              <a:gd name="connsiteX1" fmla="*/ 4727298 w 4728144"/>
              <a:gd name="connsiteY1" fmla="*/ 0 h 3680688"/>
              <a:gd name="connsiteX2" fmla="*/ 4727299 w 4728144"/>
              <a:gd name="connsiteY2" fmla="*/ 3680688 h 3680688"/>
              <a:gd name="connsiteX3" fmla="*/ 483292 w 4728144"/>
              <a:gd name="connsiteY3" fmla="*/ 3678203 h 3680688"/>
              <a:gd name="connsiteX4" fmla="*/ 587738 w 4728144"/>
              <a:gd name="connsiteY4" fmla="*/ 8808 h 3680688"/>
              <a:gd name="connsiteX0" fmla="*/ 592227 w 4732633"/>
              <a:gd name="connsiteY0" fmla="*/ 8808 h 3680688"/>
              <a:gd name="connsiteX1" fmla="*/ 4731787 w 4732633"/>
              <a:gd name="connsiteY1" fmla="*/ 0 h 3680688"/>
              <a:gd name="connsiteX2" fmla="*/ 4731788 w 4732633"/>
              <a:gd name="connsiteY2" fmla="*/ 3680688 h 3680688"/>
              <a:gd name="connsiteX3" fmla="*/ 487781 w 4732633"/>
              <a:gd name="connsiteY3" fmla="*/ 3678203 h 3680688"/>
              <a:gd name="connsiteX4" fmla="*/ 592227 w 4732633"/>
              <a:gd name="connsiteY4" fmla="*/ 8808 h 3680688"/>
              <a:gd name="connsiteX0" fmla="*/ 590793 w 4734538"/>
              <a:gd name="connsiteY0" fmla="*/ 2174 h 3680688"/>
              <a:gd name="connsiteX1" fmla="*/ 4733692 w 4734538"/>
              <a:gd name="connsiteY1" fmla="*/ 0 h 3680688"/>
              <a:gd name="connsiteX2" fmla="*/ 4733693 w 4734538"/>
              <a:gd name="connsiteY2" fmla="*/ 3680688 h 3680688"/>
              <a:gd name="connsiteX3" fmla="*/ 489686 w 4734538"/>
              <a:gd name="connsiteY3" fmla="*/ 3678203 h 3680688"/>
              <a:gd name="connsiteX4" fmla="*/ 590793 w 4734538"/>
              <a:gd name="connsiteY4" fmla="*/ 2174 h 3680688"/>
              <a:gd name="connsiteX0" fmla="*/ 598022 w 4725068"/>
              <a:gd name="connsiteY0" fmla="*/ 0 h 3681831"/>
              <a:gd name="connsiteX1" fmla="*/ 4724222 w 4725068"/>
              <a:gd name="connsiteY1" fmla="*/ 1143 h 3681831"/>
              <a:gd name="connsiteX2" fmla="*/ 4724223 w 4725068"/>
              <a:gd name="connsiteY2" fmla="*/ 3681831 h 3681831"/>
              <a:gd name="connsiteX3" fmla="*/ 480216 w 4725068"/>
              <a:gd name="connsiteY3" fmla="*/ 3679346 h 3681831"/>
              <a:gd name="connsiteX4" fmla="*/ 598022 w 4725068"/>
              <a:gd name="connsiteY4" fmla="*/ 0 h 3681831"/>
              <a:gd name="connsiteX0" fmla="*/ 598022 w 4725068"/>
              <a:gd name="connsiteY0" fmla="*/ 0 h 3685148"/>
              <a:gd name="connsiteX1" fmla="*/ 4724222 w 4725068"/>
              <a:gd name="connsiteY1" fmla="*/ 4460 h 3685148"/>
              <a:gd name="connsiteX2" fmla="*/ 4724223 w 4725068"/>
              <a:gd name="connsiteY2" fmla="*/ 3685148 h 3685148"/>
              <a:gd name="connsiteX3" fmla="*/ 480216 w 4725068"/>
              <a:gd name="connsiteY3" fmla="*/ 3682663 h 3685148"/>
              <a:gd name="connsiteX4" fmla="*/ 598022 w 4725068"/>
              <a:gd name="connsiteY4" fmla="*/ 0 h 3685148"/>
              <a:gd name="connsiteX0" fmla="*/ 596565 w 4726950"/>
              <a:gd name="connsiteY0" fmla="*/ 2174 h 3680688"/>
              <a:gd name="connsiteX1" fmla="*/ 4726104 w 4726950"/>
              <a:gd name="connsiteY1" fmla="*/ 0 h 3680688"/>
              <a:gd name="connsiteX2" fmla="*/ 4726105 w 4726950"/>
              <a:gd name="connsiteY2" fmla="*/ 3680688 h 3680688"/>
              <a:gd name="connsiteX3" fmla="*/ 482098 w 4726950"/>
              <a:gd name="connsiteY3" fmla="*/ 3678203 h 3680688"/>
              <a:gd name="connsiteX4" fmla="*/ 596565 w 4726950"/>
              <a:gd name="connsiteY4" fmla="*/ 2174 h 3680688"/>
              <a:gd name="connsiteX0" fmla="*/ 600621 w 4731006"/>
              <a:gd name="connsiteY0" fmla="*/ 2174 h 3680688"/>
              <a:gd name="connsiteX1" fmla="*/ 4730160 w 4731006"/>
              <a:gd name="connsiteY1" fmla="*/ 0 h 3680688"/>
              <a:gd name="connsiteX2" fmla="*/ 4730161 w 4731006"/>
              <a:gd name="connsiteY2" fmla="*/ 3680688 h 3680688"/>
              <a:gd name="connsiteX3" fmla="*/ 486154 w 4731006"/>
              <a:gd name="connsiteY3" fmla="*/ 3678203 h 3680688"/>
              <a:gd name="connsiteX4" fmla="*/ 600621 w 4731006"/>
              <a:gd name="connsiteY4" fmla="*/ 2174 h 3680688"/>
              <a:gd name="connsiteX0" fmla="*/ 599177 w 4729562"/>
              <a:gd name="connsiteY0" fmla="*/ 2174 h 3688155"/>
              <a:gd name="connsiteX1" fmla="*/ 4728716 w 4729562"/>
              <a:gd name="connsiteY1" fmla="*/ 0 h 3688155"/>
              <a:gd name="connsiteX2" fmla="*/ 4728717 w 4729562"/>
              <a:gd name="connsiteY2" fmla="*/ 3680688 h 3688155"/>
              <a:gd name="connsiteX3" fmla="*/ 488050 w 4729562"/>
              <a:gd name="connsiteY3" fmla="*/ 3688155 h 3688155"/>
              <a:gd name="connsiteX4" fmla="*/ 599177 w 4729562"/>
              <a:gd name="connsiteY4" fmla="*/ 2174 h 3688155"/>
              <a:gd name="connsiteX0" fmla="*/ 599177 w 4729562"/>
              <a:gd name="connsiteY0" fmla="*/ 0 h 3685981"/>
              <a:gd name="connsiteX1" fmla="*/ 4728716 w 4729562"/>
              <a:gd name="connsiteY1" fmla="*/ 1143 h 3685981"/>
              <a:gd name="connsiteX2" fmla="*/ 4728717 w 4729562"/>
              <a:gd name="connsiteY2" fmla="*/ 3678514 h 3685981"/>
              <a:gd name="connsiteX3" fmla="*/ 488050 w 4729562"/>
              <a:gd name="connsiteY3" fmla="*/ 3685981 h 3685981"/>
              <a:gd name="connsiteX4" fmla="*/ 599177 w 4729562"/>
              <a:gd name="connsiteY4" fmla="*/ 0 h 3685981"/>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96304 w 4733368"/>
              <a:gd name="connsiteY0" fmla="*/ 5491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5491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85455 w 4722519"/>
              <a:gd name="connsiteY0" fmla="*/ 2174 h 3684838"/>
              <a:gd name="connsiteX1" fmla="*/ 4721673 w 4722519"/>
              <a:gd name="connsiteY1" fmla="*/ 0 h 3684838"/>
              <a:gd name="connsiteX2" fmla="*/ 4721674 w 4722519"/>
              <a:gd name="connsiteY2" fmla="*/ 3677371 h 3684838"/>
              <a:gd name="connsiteX3" fmla="*/ 481007 w 4722519"/>
              <a:gd name="connsiteY3" fmla="*/ 3684838 h 3684838"/>
              <a:gd name="connsiteX4" fmla="*/ 585455 w 4722519"/>
              <a:gd name="connsiteY4" fmla="*/ 2174 h 3684838"/>
              <a:gd name="connsiteX0" fmla="*/ 593586 w 4730650"/>
              <a:gd name="connsiteY0" fmla="*/ 2174 h 3684838"/>
              <a:gd name="connsiteX1" fmla="*/ 4729804 w 4730650"/>
              <a:gd name="connsiteY1" fmla="*/ 0 h 3684838"/>
              <a:gd name="connsiteX2" fmla="*/ 4729805 w 4730650"/>
              <a:gd name="connsiteY2" fmla="*/ 3677371 h 3684838"/>
              <a:gd name="connsiteX3" fmla="*/ 489138 w 4730650"/>
              <a:gd name="connsiteY3" fmla="*/ 3684838 h 3684838"/>
              <a:gd name="connsiteX4" fmla="*/ 593586 w 4730650"/>
              <a:gd name="connsiteY4" fmla="*/ 2174 h 3684838"/>
              <a:gd name="connsiteX0" fmla="*/ 593586 w 4736932"/>
              <a:gd name="connsiteY0" fmla="*/ 2174 h 3687322"/>
              <a:gd name="connsiteX1" fmla="*/ 4729804 w 4736932"/>
              <a:gd name="connsiteY1" fmla="*/ 0 h 3687322"/>
              <a:gd name="connsiteX2" fmla="*/ 4736485 w 4736932"/>
              <a:gd name="connsiteY2" fmla="*/ 3687322 h 3687322"/>
              <a:gd name="connsiteX3" fmla="*/ 489138 w 4736932"/>
              <a:gd name="connsiteY3" fmla="*/ 3684838 h 3687322"/>
              <a:gd name="connsiteX4" fmla="*/ 593586 w 4736932"/>
              <a:gd name="connsiteY4" fmla="*/ 2174 h 3687322"/>
              <a:gd name="connsiteX0" fmla="*/ 593586 w 4739824"/>
              <a:gd name="connsiteY0" fmla="*/ 2174 h 3687322"/>
              <a:gd name="connsiteX1" fmla="*/ 4739824 w 4739824"/>
              <a:gd name="connsiteY1" fmla="*/ 0 h 3687322"/>
              <a:gd name="connsiteX2" fmla="*/ 4736485 w 4739824"/>
              <a:gd name="connsiteY2" fmla="*/ 3687322 h 3687322"/>
              <a:gd name="connsiteX3" fmla="*/ 489138 w 4739824"/>
              <a:gd name="connsiteY3" fmla="*/ 3684838 h 3687322"/>
              <a:gd name="connsiteX4" fmla="*/ 593586 w 4739824"/>
              <a:gd name="connsiteY4" fmla="*/ 2174 h 3687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9824" h="3687322">
                <a:moveTo>
                  <a:pt x="593586" y="2174"/>
                </a:moveTo>
                <a:lnTo>
                  <a:pt x="4739824" y="0"/>
                </a:lnTo>
                <a:cubicBezTo>
                  <a:pt x="4736893" y="1360600"/>
                  <a:pt x="4739416" y="2326722"/>
                  <a:pt x="4736485" y="3687322"/>
                </a:cubicBezTo>
                <a:lnTo>
                  <a:pt x="489138" y="3684838"/>
                </a:lnTo>
                <a:cubicBezTo>
                  <a:pt x="18231" y="2928543"/>
                  <a:pt x="-365842" y="1442490"/>
                  <a:pt x="593586" y="2174"/>
                </a:cubicBezTo>
                <a:close/>
              </a:path>
            </a:pathLst>
          </a:custGeom>
        </p:spPr>
      </p:pic>
    </p:spTree>
    <p:extLst>
      <p:ext uri="{BB962C8B-B14F-4D97-AF65-F5344CB8AC3E}">
        <p14:creationId xmlns:p14="http://schemas.microsoft.com/office/powerpoint/2010/main" val="39424231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94885" y="3493084"/>
            <a:ext cx="5196316" cy="725311"/>
          </a:xfrm>
          <a:prstGeom prst="rect">
            <a:avLst/>
          </a:prstGeom>
        </p:spPr>
        <p:txBody>
          <a:bodyPr lIns="0" tIns="0" rIns="0" bIns="0" anchor="t" anchorCtr="0"/>
          <a:lstStyle>
            <a:lvl1pPr algn="l">
              <a:lnSpc>
                <a:spcPct val="100000"/>
              </a:lnSpc>
              <a:defRPr sz="2133"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594895" y="4341549"/>
            <a:ext cx="5196311" cy="205052"/>
          </a:xfrm>
          <a:prstGeom prst="rect">
            <a:avLst/>
          </a:prstGeom>
        </p:spPr>
        <p:txBody>
          <a:bodyPr lIns="0" tIns="0" rIns="0" bIns="0"/>
          <a:lstStyle>
            <a:lvl1pPr marL="0" indent="0" algn="l">
              <a:buNone/>
              <a:defRPr sz="1333" b="0" i="0" cap="none" spc="120" baseline="0">
                <a:solidFill>
                  <a:srgbClr val="FFFFFF"/>
                </a:solidFill>
                <a:latin typeface="Verdana"/>
                <a:cs typeface="Verdana"/>
              </a:defRPr>
            </a:lvl1pPr>
          </a:lstStyle>
          <a:p>
            <a:pPr lvl="0"/>
            <a:r>
              <a:rPr lang="en-GB" noProof="0"/>
              <a:t>Click to add subtitle</a:t>
            </a:r>
          </a:p>
        </p:txBody>
      </p:sp>
      <p:sp>
        <p:nvSpPr>
          <p:cNvPr id="14" name="Text Placeholder 19"/>
          <p:cNvSpPr>
            <a:spLocks noGrp="1"/>
          </p:cNvSpPr>
          <p:nvPr>
            <p:ph type="body" sz="quarter" idx="12" hasCustomPrompt="1"/>
          </p:nvPr>
        </p:nvSpPr>
        <p:spPr>
          <a:xfrm>
            <a:off x="609625" y="4863067"/>
            <a:ext cx="5187443" cy="205052"/>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609601" y="5113853"/>
            <a:ext cx="5187457"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pic>
        <p:nvPicPr>
          <p:cNvPr id="3" name="Picture Placeholder 7" descr="A person in a hat holding a tablet&#10;&#10;Description automatically generated">
            <a:extLst>
              <a:ext uri="{FF2B5EF4-FFF2-40B4-BE49-F238E27FC236}">
                <a16:creationId xmlns:a16="http://schemas.microsoft.com/office/drawing/2014/main" id="{7E45A080-DD6F-8355-AD70-AA2FEF31A177}"/>
              </a:ext>
            </a:extLst>
          </p:cNvPr>
          <p:cNvPicPr>
            <a:picLocks noChangeAspect="1"/>
          </p:cNvPicPr>
          <p:nvPr userDrawn="1"/>
        </p:nvPicPr>
        <p:blipFill>
          <a:blip r:embed="rId3"/>
          <a:srcRect l="83" r="83"/>
          <a:stretch>
            <a:fillRect/>
          </a:stretch>
        </p:blipFill>
        <p:spPr>
          <a:xfrm>
            <a:off x="6195661" y="2163797"/>
            <a:ext cx="6007968" cy="4705843"/>
          </a:xfrm>
          <a:custGeom>
            <a:avLst/>
            <a:gdLst>
              <a:gd name="connsiteX0" fmla="*/ 0 w 4115581"/>
              <a:gd name="connsiteY0" fmla="*/ 0 h 4073007"/>
              <a:gd name="connsiteX1" fmla="*/ 4115581 w 4115581"/>
              <a:gd name="connsiteY1" fmla="*/ 0 h 4073007"/>
              <a:gd name="connsiteX2" fmla="*/ 4115581 w 4115581"/>
              <a:gd name="connsiteY2" fmla="*/ 4073007 h 4073007"/>
              <a:gd name="connsiteX3" fmla="*/ 0 w 4115581"/>
              <a:gd name="connsiteY3" fmla="*/ 4073007 h 4073007"/>
              <a:gd name="connsiteX4" fmla="*/ 0 w 4115581"/>
              <a:gd name="connsiteY4" fmla="*/ 0 h 4073007"/>
              <a:gd name="connsiteX0" fmla="*/ 429846 w 4545427"/>
              <a:gd name="connsiteY0" fmla="*/ 0 h 4073007"/>
              <a:gd name="connsiteX1" fmla="*/ 4545427 w 4545427"/>
              <a:gd name="connsiteY1" fmla="*/ 0 h 4073007"/>
              <a:gd name="connsiteX2" fmla="*/ 4545427 w 4545427"/>
              <a:gd name="connsiteY2" fmla="*/ 4073007 h 4073007"/>
              <a:gd name="connsiteX3" fmla="*/ 429846 w 4545427"/>
              <a:gd name="connsiteY3" fmla="*/ 4073007 h 4073007"/>
              <a:gd name="connsiteX4" fmla="*/ 429846 w 4545427"/>
              <a:gd name="connsiteY4" fmla="*/ 0 h 4073007"/>
              <a:gd name="connsiteX0" fmla="*/ 563853 w 4679434"/>
              <a:gd name="connsiteY0" fmla="*/ 0 h 4073007"/>
              <a:gd name="connsiteX1" fmla="*/ 4679434 w 4679434"/>
              <a:gd name="connsiteY1" fmla="*/ 0 h 4073007"/>
              <a:gd name="connsiteX2" fmla="*/ 4679434 w 4679434"/>
              <a:gd name="connsiteY2" fmla="*/ 4073007 h 4073007"/>
              <a:gd name="connsiteX3" fmla="*/ 563853 w 4679434"/>
              <a:gd name="connsiteY3" fmla="*/ 4073007 h 4073007"/>
              <a:gd name="connsiteX4" fmla="*/ 563853 w 4679434"/>
              <a:gd name="connsiteY4" fmla="*/ 0 h 4073007"/>
              <a:gd name="connsiteX0" fmla="*/ 570773 w 4668769"/>
              <a:gd name="connsiteY0" fmla="*/ 0 h 4081799"/>
              <a:gd name="connsiteX1" fmla="*/ 4668769 w 4668769"/>
              <a:gd name="connsiteY1" fmla="*/ 8792 h 4081799"/>
              <a:gd name="connsiteX2" fmla="*/ 4668769 w 4668769"/>
              <a:gd name="connsiteY2" fmla="*/ 4081799 h 4081799"/>
              <a:gd name="connsiteX3" fmla="*/ 553188 w 4668769"/>
              <a:gd name="connsiteY3" fmla="*/ 4081799 h 4081799"/>
              <a:gd name="connsiteX4" fmla="*/ 570773 w 4668769"/>
              <a:gd name="connsiteY4" fmla="*/ 0 h 4081799"/>
              <a:gd name="connsiteX0" fmla="*/ 570773 w 4677561"/>
              <a:gd name="connsiteY0" fmla="*/ 1 h 4081800"/>
              <a:gd name="connsiteX1" fmla="*/ 4677561 w 4677561"/>
              <a:gd name="connsiteY1" fmla="*/ 0 h 4081800"/>
              <a:gd name="connsiteX2" fmla="*/ 4668769 w 4677561"/>
              <a:gd name="connsiteY2" fmla="*/ 4081800 h 4081800"/>
              <a:gd name="connsiteX3" fmla="*/ 553188 w 4677561"/>
              <a:gd name="connsiteY3" fmla="*/ 4081800 h 4081800"/>
              <a:gd name="connsiteX4" fmla="*/ 570773 w 4677561"/>
              <a:gd name="connsiteY4" fmla="*/ 1 h 4081800"/>
              <a:gd name="connsiteX0" fmla="*/ 599816 w 4706604"/>
              <a:gd name="connsiteY0" fmla="*/ 1 h 4081800"/>
              <a:gd name="connsiteX1" fmla="*/ 4706604 w 4706604"/>
              <a:gd name="connsiteY1" fmla="*/ 0 h 4081800"/>
              <a:gd name="connsiteX2" fmla="*/ 4697812 w 4706604"/>
              <a:gd name="connsiteY2" fmla="*/ 4081800 h 4081800"/>
              <a:gd name="connsiteX3" fmla="*/ 511892 w 4706604"/>
              <a:gd name="connsiteY3" fmla="*/ 3659769 h 4081800"/>
              <a:gd name="connsiteX4" fmla="*/ 599816 w 4706604"/>
              <a:gd name="connsiteY4" fmla="*/ 1 h 4081800"/>
              <a:gd name="connsiteX0" fmla="*/ 599816 w 4706604"/>
              <a:gd name="connsiteY0" fmla="*/ 1 h 3659769"/>
              <a:gd name="connsiteX1" fmla="*/ 4706604 w 4706604"/>
              <a:gd name="connsiteY1" fmla="*/ 0 h 3659769"/>
              <a:gd name="connsiteX2" fmla="*/ 4645059 w 4706604"/>
              <a:gd name="connsiteY2" fmla="*/ 3624600 h 3659769"/>
              <a:gd name="connsiteX3" fmla="*/ 511892 w 4706604"/>
              <a:gd name="connsiteY3" fmla="*/ 3659769 h 3659769"/>
              <a:gd name="connsiteX4" fmla="*/ 599816 w 4706604"/>
              <a:gd name="connsiteY4" fmla="*/ 1 h 3659769"/>
              <a:gd name="connsiteX0" fmla="*/ 599816 w 4707450"/>
              <a:gd name="connsiteY0" fmla="*/ 1 h 3659769"/>
              <a:gd name="connsiteX1" fmla="*/ 4706604 w 4707450"/>
              <a:gd name="connsiteY1" fmla="*/ 0 h 3659769"/>
              <a:gd name="connsiteX2" fmla="*/ 4706605 w 4707450"/>
              <a:gd name="connsiteY2" fmla="*/ 3650977 h 3659769"/>
              <a:gd name="connsiteX3" fmla="*/ 511892 w 4707450"/>
              <a:gd name="connsiteY3" fmla="*/ 3659769 h 3659769"/>
              <a:gd name="connsiteX4" fmla="*/ 599816 w 4707450"/>
              <a:gd name="connsiteY4" fmla="*/ 1 h 3659769"/>
              <a:gd name="connsiteX0" fmla="*/ 634214 w 4741848"/>
              <a:gd name="connsiteY0" fmla="*/ 1 h 3668316"/>
              <a:gd name="connsiteX1" fmla="*/ 4741002 w 4741848"/>
              <a:gd name="connsiteY1" fmla="*/ 0 h 3668316"/>
              <a:gd name="connsiteX2" fmla="*/ 4741003 w 4741848"/>
              <a:gd name="connsiteY2" fmla="*/ 3650977 h 3668316"/>
              <a:gd name="connsiteX3" fmla="*/ 469369 w 4741848"/>
              <a:gd name="connsiteY3" fmla="*/ 3668316 h 3668316"/>
              <a:gd name="connsiteX4" fmla="*/ 634214 w 4741848"/>
              <a:gd name="connsiteY4" fmla="*/ 1 h 3668316"/>
              <a:gd name="connsiteX0" fmla="*/ 642249 w 4732789"/>
              <a:gd name="connsiteY0" fmla="*/ 1 h 3668316"/>
              <a:gd name="connsiteX1" fmla="*/ 4731943 w 4732789"/>
              <a:gd name="connsiteY1" fmla="*/ 0 h 3668316"/>
              <a:gd name="connsiteX2" fmla="*/ 4731944 w 4732789"/>
              <a:gd name="connsiteY2" fmla="*/ 3650977 h 3668316"/>
              <a:gd name="connsiteX3" fmla="*/ 460310 w 4732789"/>
              <a:gd name="connsiteY3" fmla="*/ 3668316 h 3668316"/>
              <a:gd name="connsiteX4" fmla="*/ 642249 w 4732789"/>
              <a:gd name="connsiteY4" fmla="*/ 1 h 3668316"/>
              <a:gd name="connsiteX0" fmla="*/ 642249 w 4732789"/>
              <a:gd name="connsiteY0" fmla="*/ 1 h 3680688"/>
              <a:gd name="connsiteX1" fmla="*/ 4731943 w 4732789"/>
              <a:gd name="connsiteY1" fmla="*/ 0 h 3680688"/>
              <a:gd name="connsiteX2" fmla="*/ 4731944 w 4732789"/>
              <a:gd name="connsiteY2" fmla="*/ 3680688 h 3680688"/>
              <a:gd name="connsiteX3" fmla="*/ 460310 w 4732789"/>
              <a:gd name="connsiteY3" fmla="*/ 3668316 h 3680688"/>
              <a:gd name="connsiteX4" fmla="*/ 642249 w 4732789"/>
              <a:gd name="connsiteY4" fmla="*/ 1 h 3680688"/>
              <a:gd name="connsiteX0" fmla="*/ 642249 w 4732789"/>
              <a:gd name="connsiteY0" fmla="*/ 1 h 3681521"/>
              <a:gd name="connsiteX1" fmla="*/ 4731943 w 4732789"/>
              <a:gd name="connsiteY1" fmla="*/ 0 h 3681521"/>
              <a:gd name="connsiteX2" fmla="*/ 4731944 w 4732789"/>
              <a:gd name="connsiteY2" fmla="*/ 3680688 h 3681521"/>
              <a:gd name="connsiteX3" fmla="*/ 460310 w 4732789"/>
              <a:gd name="connsiteY3" fmla="*/ 3681521 h 3681521"/>
              <a:gd name="connsiteX4" fmla="*/ 642249 w 4732789"/>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36661 w 4760368"/>
              <a:gd name="connsiteY0" fmla="*/ 5491 h 3681521"/>
              <a:gd name="connsiteX1" fmla="*/ 4759522 w 4760368"/>
              <a:gd name="connsiteY1" fmla="*/ 0 h 3681521"/>
              <a:gd name="connsiteX2" fmla="*/ 4759523 w 4760368"/>
              <a:gd name="connsiteY2" fmla="*/ 3680688 h 3681521"/>
              <a:gd name="connsiteX3" fmla="*/ 487889 w 4760368"/>
              <a:gd name="connsiteY3" fmla="*/ 3681521 h 3681521"/>
              <a:gd name="connsiteX4" fmla="*/ 636661 w 4760368"/>
              <a:gd name="connsiteY4" fmla="*/ 5491 h 3681521"/>
              <a:gd name="connsiteX0" fmla="*/ 629168 w 4769574"/>
              <a:gd name="connsiteY0" fmla="*/ 8808 h 3681521"/>
              <a:gd name="connsiteX1" fmla="*/ 4768728 w 4769574"/>
              <a:gd name="connsiteY1" fmla="*/ 0 h 3681521"/>
              <a:gd name="connsiteX2" fmla="*/ 4768729 w 4769574"/>
              <a:gd name="connsiteY2" fmla="*/ 3680688 h 3681521"/>
              <a:gd name="connsiteX3" fmla="*/ 497095 w 4769574"/>
              <a:gd name="connsiteY3" fmla="*/ 3681521 h 3681521"/>
              <a:gd name="connsiteX4" fmla="*/ 629168 w 4769574"/>
              <a:gd name="connsiteY4" fmla="*/ 8808 h 3681521"/>
              <a:gd name="connsiteX0" fmla="*/ 601494 w 4741900"/>
              <a:gd name="connsiteY0" fmla="*/ 8808 h 3684838"/>
              <a:gd name="connsiteX1" fmla="*/ 4741054 w 4741900"/>
              <a:gd name="connsiteY1" fmla="*/ 0 h 3684838"/>
              <a:gd name="connsiteX2" fmla="*/ 4741055 w 4741900"/>
              <a:gd name="connsiteY2" fmla="*/ 3680688 h 3684838"/>
              <a:gd name="connsiteX3" fmla="*/ 533787 w 4741900"/>
              <a:gd name="connsiteY3" fmla="*/ 3684838 h 3684838"/>
              <a:gd name="connsiteX4" fmla="*/ 601494 w 4741900"/>
              <a:gd name="connsiteY4" fmla="*/ 8808 h 3684838"/>
              <a:gd name="connsiteX0" fmla="*/ 617057 w 4757463"/>
              <a:gd name="connsiteY0" fmla="*/ 8808 h 3680688"/>
              <a:gd name="connsiteX1" fmla="*/ 4756617 w 4757463"/>
              <a:gd name="connsiteY1" fmla="*/ 0 h 3680688"/>
              <a:gd name="connsiteX2" fmla="*/ 4756618 w 4757463"/>
              <a:gd name="connsiteY2" fmla="*/ 3680688 h 3680688"/>
              <a:gd name="connsiteX3" fmla="*/ 512611 w 4757463"/>
              <a:gd name="connsiteY3" fmla="*/ 3678203 h 3680688"/>
              <a:gd name="connsiteX4" fmla="*/ 617057 w 4757463"/>
              <a:gd name="connsiteY4" fmla="*/ 8808 h 3680688"/>
              <a:gd name="connsiteX0" fmla="*/ 602464 w 4742870"/>
              <a:gd name="connsiteY0" fmla="*/ 8808 h 3680688"/>
              <a:gd name="connsiteX1" fmla="*/ 4742024 w 4742870"/>
              <a:gd name="connsiteY1" fmla="*/ 0 h 3680688"/>
              <a:gd name="connsiteX2" fmla="*/ 4742025 w 4742870"/>
              <a:gd name="connsiteY2" fmla="*/ 3680688 h 3680688"/>
              <a:gd name="connsiteX3" fmla="*/ 498018 w 4742870"/>
              <a:gd name="connsiteY3" fmla="*/ 3678203 h 3680688"/>
              <a:gd name="connsiteX4" fmla="*/ 602464 w 4742870"/>
              <a:gd name="connsiteY4" fmla="*/ 8808 h 3680688"/>
              <a:gd name="connsiteX0" fmla="*/ 586378 w 4726784"/>
              <a:gd name="connsiteY0" fmla="*/ 8808 h 3680688"/>
              <a:gd name="connsiteX1" fmla="*/ 4725938 w 4726784"/>
              <a:gd name="connsiteY1" fmla="*/ 0 h 3680688"/>
              <a:gd name="connsiteX2" fmla="*/ 4725939 w 4726784"/>
              <a:gd name="connsiteY2" fmla="*/ 3680688 h 3680688"/>
              <a:gd name="connsiteX3" fmla="*/ 481932 w 4726784"/>
              <a:gd name="connsiteY3" fmla="*/ 3678203 h 3680688"/>
              <a:gd name="connsiteX4" fmla="*/ 586378 w 4726784"/>
              <a:gd name="connsiteY4" fmla="*/ 8808 h 3680688"/>
              <a:gd name="connsiteX0" fmla="*/ 575515 w 4715921"/>
              <a:gd name="connsiteY0" fmla="*/ 8808 h 3680688"/>
              <a:gd name="connsiteX1" fmla="*/ 4715075 w 4715921"/>
              <a:gd name="connsiteY1" fmla="*/ 0 h 3680688"/>
              <a:gd name="connsiteX2" fmla="*/ 4715076 w 4715921"/>
              <a:gd name="connsiteY2" fmla="*/ 3680688 h 3680688"/>
              <a:gd name="connsiteX3" fmla="*/ 471069 w 4715921"/>
              <a:gd name="connsiteY3" fmla="*/ 3678203 h 3680688"/>
              <a:gd name="connsiteX4" fmla="*/ 575515 w 4715921"/>
              <a:gd name="connsiteY4" fmla="*/ 8808 h 3680688"/>
              <a:gd name="connsiteX0" fmla="*/ 587738 w 4728144"/>
              <a:gd name="connsiteY0" fmla="*/ 8808 h 3680688"/>
              <a:gd name="connsiteX1" fmla="*/ 4727298 w 4728144"/>
              <a:gd name="connsiteY1" fmla="*/ 0 h 3680688"/>
              <a:gd name="connsiteX2" fmla="*/ 4727299 w 4728144"/>
              <a:gd name="connsiteY2" fmla="*/ 3680688 h 3680688"/>
              <a:gd name="connsiteX3" fmla="*/ 483292 w 4728144"/>
              <a:gd name="connsiteY3" fmla="*/ 3678203 h 3680688"/>
              <a:gd name="connsiteX4" fmla="*/ 587738 w 4728144"/>
              <a:gd name="connsiteY4" fmla="*/ 8808 h 3680688"/>
              <a:gd name="connsiteX0" fmla="*/ 592227 w 4732633"/>
              <a:gd name="connsiteY0" fmla="*/ 8808 h 3680688"/>
              <a:gd name="connsiteX1" fmla="*/ 4731787 w 4732633"/>
              <a:gd name="connsiteY1" fmla="*/ 0 h 3680688"/>
              <a:gd name="connsiteX2" fmla="*/ 4731788 w 4732633"/>
              <a:gd name="connsiteY2" fmla="*/ 3680688 h 3680688"/>
              <a:gd name="connsiteX3" fmla="*/ 487781 w 4732633"/>
              <a:gd name="connsiteY3" fmla="*/ 3678203 h 3680688"/>
              <a:gd name="connsiteX4" fmla="*/ 592227 w 4732633"/>
              <a:gd name="connsiteY4" fmla="*/ 8808 h 3680688"/>
              <a:gd name="connsiteX0" fmla="*/ 590793 w 4734538"/>
              <a:gd name="connsiteY0" fmla="*/ 2174 h 3680688"/>
              <a:gd name="connsiteX1" fmla="*/ 4733692 w 4734538"/>
              <a:gd name="connsiteY1" fmla="*/ 0 h 3680688"/>
              <a:gd name="connsiteX2" fmla="*/ 4733693 w 4734538"/>
              <a:gd name="connsiteY2" fmla="*/ 3680688 h 3680688"/>
              <a:gd name="connsiteX3" fmla="*/ 489686 w 4734538"/>
              <a:gd name="connsiteY3" fmla="*/ 3678203 h 3680688"/>
              <a:gd name="connsiteX4" fmla="*/ 590793 w 4734538"/>
              <a:gd name="connsiteY4" fmla="*/ 2174 h 3680688"/>
              <a:gd name="connsiteX0" fmla="*/ 598022 w 4725068"/>
              <a:gd name="connsiteY0" fmla="*/ 0 h 3681831"/>
              <a:gd name="connsiteX1" fmla="*/ 4724222 w 4725068"/>
              <a:gd name="connsiteY1" fmla="*/ 1143 h 3681831"/>
              <a:gd name="connsiteX2" fmla="*/ 4724223 w 4725068"/>
              <a:gd name="connsiteY2" fmla="*/ 3681831 h 3681831"/>
              <a:gd name="connsiteX3" fmla="*/ 480216 w 4725068"/>
              <a:gd name="connsiteY3" fmla="*/ 3679346 h 3681831"/>
              <a:gd name="connsiteX4" fmla="*/ 598022 w 4725068"/>
              <a:gd name="connsiteY4" fmla="*/ 0 h 3681831"/>
              <a:gd name="connsiteX0" fmla="*/ 598022 w 4725068"/>
              <a:gd name="connsiteY0" fmla="*/ 0 h 3685148"/>
              <a:gd name="connsiteX1" fmla="*/ 4724222 w 4725068"/>
              <a:gd name="connsiteY1" fmla="*/ 4460 h 3685148"/>
              <a:gd name="connsiteX2" fmla="*/ 4724223 w 4725068"/>
              <a:gd name="connsiteY2" fmla="*/ 3685148 h 3685148"/>
              <a:gd name="connsiteX3" fmla="*/ 480216 w 4725068"/>
              <a:gd name="connsiteY3" fmla="*/ 3682663 h 3685148"/>
              <a:gd name="connsiteX4" fmla="*/ 598022 w 4725068"/>
              <a:gd name="connsiteY4" fmla="*/ 0 h 3685148"/>
              <a:gd name="connsiteX0" fmla="*/ 596565 w 4726950"/>
              <a:gd name="connsiteY0" fmla="*/ 2174 h 3680688"/>
              <a:gd name="connsiteX1" fmla="*/ 4726104 w 4726950"/>
              <a:gd name="connsiteY1" fmla="*/ 0 h 3680688"/>
              <a:gd name="connsiteX2" fmla="*/ 4726105 w 4726950"/>
              <a:gd name="connsiteY2" fmla="*/ 3680688 h 3680688"/>
              <a:gd name="connsiteX3" fmla="*/ 482098 w 4726950"/>
              <a:gd name="connsiteY3" fmla="*/ 3678203 h 3680688"/>
              <a:gd name="connsiteX4" fmla="*/ 596565 w 4726950"/>
              <a:gd name="connsiteY4" fmla="*/ 2174 h 3680688"/>
              <a:gd name="connsiteX0" fmla="*/ 600621 w 4731006"/>
              <a:gd name="connsiteY0" fmla="*/ 2174 h 3680688"/>
              <a:gd name="connsiteX1" fmla="*/ 4730160 w 4731006"/>
              <a:gd name="connsiteY1" fmla="*/ 0 h 3680688"/>
              <a:gd name="connsiteX2" fmla="*/ 4730161 w 4731006"/>
              <a:gd name="connsiteY2" fmla="*/ 3680688 h 3680688"/>
              <a:gd name="connsiteX3" fmla="*/ 486154 w 4731006"/>
              <a:gd name="connsiteY3" fmla="*/ 3678203 h 3680688"/>
              <a:gd name="connsiteX4" fmla="*/ 600621 w 4731006"/>
              <a:gd name="connsiteY4" fmla="*/ 2174 h 3680688"/>
              <a:gd name="connsiteX0" fmla="*/ 599177 w 4729562"/>
              <a:gd name="connsiteY0" fmla="*/ 2174 h 3688155"/>
              <a:gd name="connsiteX1" fmla="*/ 4728716 w 4729562"/>
              <a:gd name="connsiteY1" fmla="*/ 0 h 3688155"/>
              <a:gd name="connsiteX2" fmla="*/ 4728717 w 4729562"/>
              <a:gd name="connsiteY2" fmla="*/ 3680688 h 3688155"/>
              <a:gd name="connsiteX3" fmla="*/ 488050 w 4729562"/>
              <a:gd name="connsiteY3" fmla="*/ 3688155 h 3688155"/>
              <a:gd name="connsiteX4" fmla="*/ 599177 w 4729562"/>
              <a:gd name="connsiteY4" fmla="*/ 2174 h 3688155"/>
              <a:gd name="connsiteX0" fmla="*/ 599177 w 4729562"/>
              <a:gd name="connsiteY0" fmla="*/ 0 h 3685981"/>
              <a:gd name="connsiteX1" fmla="*/ 4728716 w 4729562"/>
              <a:gd name="connsiteY1" fmla="*/ 1143 h 3685981"/>
              <a:gd name="connsiteX2" fmla="*/ 4728717 w 4729562"/>
              <a:gd name="connsiteY2" fmla="*/ 3678514 h 3685981"/>
              <a:gd name="connsiteX3" fmla="*/ 488050 w 4729562"/>
              <a:gd name="connsiteY3" fmla="*/ 3685981 h 3685981"/>
              <a:gd name="connsiteX4" fmla="*/ 599177 w 4729562"/>
              <a:gd name="connsiteY4" fmla="*/ 0 h 3685981"/>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96304 w 4733368"/>
              <a:gd name="connsiteY0" fmla="*/ 5491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5491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85455 w 4722519"/>
              <a:gd name="connsiteY0" fmla="*/ 2174 h 3684838"/>
              <a:gd name="connsiteX1" fmla="*/ 4721673 w 4722519"/>
              <a:gd name="connsiteY1" fmla="*/ 0 h 3684838"/>
              <a:gd name="connsiteX2" fmla="*/ 4721674 w 4722519"/>
              <a:gd name="connsiteY2" fmla="*/ 3677371 h 3684838"/>
              <a:gd name="connsiteX3" fmla="*/ 481007 w 4722519"/>
              <a:gd name="connsiteY3" fmla="*/ 3684838 h 3684838"/>
              <a:gd name="connsiteX4" fmla="*/ 585455 w 4722519"/>
              <a:gd name="connsiteY4" fmla="*/ 2174 h 3684838"/>
              <a:gd name="connsiteX0" fmla="*/ 593586 w 4730650"/>
              <a:gd name="connsiteY0" fmla="*/ 2174 h 3684838"/>
              <a:gd name="connsiteX1" fmla="*/ 4729804 w 4730650"/>
              <a:gd name="connsiteY1" fmla="*/ 0 h 3684838"/>
              <a:gd name="connsiteX2" fmla="*/ 4729805 w 4730650"/>
              <a:gd name="connsiteY2" fmla="*/ 3677371 h 3684838"/>
              <a:gd name="connsiteX3" fmla="*/ 489138 w 4730650"/>
              <a:gd name="connsiteY3" fmla="*/ 3684838 h 3684838"/>
              <a:gd name="connsiteX4" fmla="*/ 593586 w 4730650"/>
              <a:gd name="connsiteY4" fmla="*/ 2174 h 3684838"/>
              <a:gd name="connsiteX0" fmla="*/ 593586 w 4736932"/>
              <a:gd name="connsiteY0" fmla="*/ 2174 h 3687322"/>
              <a:gd name="connsiteX1" fmla="*/ 4729804 w 4736932"/>
              <a:gd name="connsiteY1" fmla="*/ 0 h 3687322"/>
              <a:gd name="connsiteX2" fmla="*/ 4736485 w 4736932"/>
              <a:gd name="connsiteY2" fmla="*/ 3687322 h 3687322"/>
              <a:gd name="connsiteX3" fmla="*/ 489138 w 4736932"/>
              <a:gd name="connsiteY3" fmla="*/ 3684838 h 3687322"/>
              <a:gd name="connsiteX4" fmla="*/ 593586 w 4736932"/>
              <a:gd name="connsiteY4" fmla="*/ 2174 h 3687322"/>
              <a:gd name="connsiteX0" fmla="*/ 593586 w 4739824"/>
              <a:gd name="connsiteY0" fmla="*/ 2174 h 3687322"/>
              <a:gd name="connsiteX1" fmla="*/ 4739824 w 4739824"/>
              <a:gd name="connsiteY1" fmla="*/ 0 h 3687322"/>
              <a:gd name="connsiteX2" fmla="*/ 4736485 w 4739824"/>
              <a:gd name="connsiteY2" fmla="*/ 3687322 h 3687322"/>
              <a:gd name="connsiteX3" fmla="*/ 489138 w 4739824"/>
              <a:gd name="connsiteY3" fmla="*/ 3684838 h 3687322"/>
              <a:gd name="connsiteX4" fmla="*/ 593586 w 4739824"/>
              <a:gd name="connsiteY4" fmla="*/ 2174 h 3687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9824" h="3687322">
                <a:moveTo>
                  <a:pt x="593586" y="2174"/>
                </a:moveTo>
                <a:lnTo>
                  <a:pt x="4739824" y="0"/>
                </a:lnTo>
                <a:cubicBezTo>
                  <a:pt x="4736893" y="1360600"/>
                  <a:pt x="4739416" y="2326722"/>
                  <a:pt x="4736485" y="3687322"/>
                </a:cubicBezTo>
                <a:lnTo>
                  <a:pt x="489138" y="3684838"/>
                </a:lnTo>
                <a:cubicBezTo>
                  <a:pt x="18231" y="2928543"/>
                  <a:pt x="-365842" y="1442490"/>
                  <a:pt x="593586" y="2174"/>
                </a:cubicBezTo>
                <a:close/>
              </a:path>
            </a:pathLst>
          </a:custGeom>
        </p:spPr>
      </p:pic>
    </p:spTree>
    <p:extLst>
      <p:ext uri="{BB962C8B-B14F-4D97-AF65-F5344CB8AC3E}">
        <p14:creationId xmlns:p14="http://schemas.microsoft.com/office/powerpoint/2010/main" val="16977490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dd a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59DC13B7-AFCA-9BA4-ADAA-7587395268C3}"/>
              </a:ext>
            </a:extLst>
          </p:cNvPr>
          <p:cNvSpPr>
            <a:spLocks noGrp="1"/>
          </p:cNvSpPr>
          <p:nvPr>
            <p:ph type="pic" sz="quarter" idx="16" hasCustomPrompt="1"/>
          </p:nvPr>
        </p:nvSpPr>
        <p:spPr>
          <a:xfrm>
            <a:off x="6195661" y="2163797"/>
            <a:ext cx="6007968" cy="4705843"/>
          </a:xfrm>
          <a:custGeom>
            <a:avLst/>
            <a:gdLst>
              <a:gd name="connsiteX0" fmla="*/ 0 w 4115581"/>
              <a:gd name="connsiteY0" fmla="*/ 0 h 4073007"/>
              <a:gd name="connsiteX1" fmla="*/ 4115581 w 4115581"/>
              <a:gd name="connsiteY1" fmla="*/ 0 h 4073007"/>
              <a:gd name="connsiteX2" fmla="*/ 4115581 w 4115581"/>
              <a:gd name="connsiteY2" fmla="*/ 4073007 h 4073007"/>
              <a:gd name="connsiteX3" fmla="*/ 0 w 4115581"/>
              <a:gd name="connsiteY3" fmla="*/ 4073007 h 4073007"/>
              <a:gd name="connsiteX4" fmla="*/ 0 w 4115581"/>
              <a:gd name="connsiteY4" fmla="*/ 0 h 4073007"/>
              <a:gd name="connsiteX0" fmla="*/ 429846 w 4545427"/>
              <a:gd name="connsiteY0" fmla="*/ 0 h 4073007"/>
              <a:gd name="connsiteX1" fmla="*/ 4545427 w 4545427"/>
              <a:gd name="connsiteY1" fmla="*/ 0 h 4073007"/>
              <a:gd name="connsiteX2" fmla="*/ 4545427 w 4545427"/>
              <a:gd name="connsiteY2" fmla="*/ 4073007 h 4073007"/>
              <a:gd name="connsiteX3" fmla="*/ 429846 w 4545427"/>
              <a:gd name="connsiteY3" fmla="*/ 4073007 h 4073007"/>
              <a:gd name="connsiteX4" fmla="*/ 429846 w 4545427"/>
              <a:gd name="connsiteY4" fmla="*/ 0 h 4073007"/>
              <a:gd name="connsiteX0" fmla="*/ 563853 w 4679434"/>
              <a:gd name="connsiteY0" fmla="*/ 0 h 4073007"/>
              <a:gd name="connsiteX1" fmla="*/ 4679434 w 4679434"/>
              <a:gd name="connsiteY1" fmla="*/ 0 h 4073007"/>
              <a:gd name="connsiteX2" fmla="*/ 4679434 w 4679434"/>
              <a:gd name="connsiteY2" fmla="*/ 4073007 h 4073007"/>
              <a:gd name="connsiteX3" fmla="*/ 563853 w 4679434"/>
              <a:gd name="connsiteY3" fmla="*/ 4073007 h 4073007"/>
              <a:gd name="connsiteX4" fmla="*/ 563853 w 4679434"/>
              <a:gd name="connsiteY4" fmla="*/ 0 h 4073007"/>
              <a:gd name="connsiteX0" fmla="*/ 570773 w 4668769"/>
              <a:gd name="connsiteY0" fmla="*/ 0 h 4081799"/>
              <a:gd name="connsiteX1" fmla="*/ 4668769 w 4668769"/>
              <a:gd name="connsiteY1" fmla="*/ 8792 h 4081799"/>
              <a:gd name="connsiteX2" fmla="*/ 4668769 w 4668769"/>
              <a:gd name="connsiteY2" fmla="*/ 4081799 h 4081799"/>
              <a:gd name="connsiteX3" fmla="*/ 553188 w 4668769"/>
              <a:gd name="connsiteY3" fmla="*/ 4081799 h 4081799"/>
              <a:gd name="connsiteX4" fmla="*/ 570773 w 4668769"/>
              <a:gd name="connsiteY4" fmla="*/ 0 h 4081799"/>
              <a:gd name="connsiteX0" fmla="*/ 570773 w 4677561"/>
              <a:gd name="connsiteY0" fmla="*/ 1 h 4081800"/>
              <a:gd name="connsiteX1" fmla="*/ 4677561 w 4677561"/>
              <a:gd name="connsiteY1" fmla="*/ 0 h 4081800"/>
              <a:gd name="connsiteX2" fmla="*/ 4668769 w 4677561"/>
              <a:gd name="connsiteY2" fmla="*/ 4081800 h 4081800"/>
              <a:gd name="connsiteX3" fmla="*/ 553188 w 4677561"/>
              <a:gd name="connsiteY3" fmla="*/ 4081800 h 4081800"/>
              <a:gd name="connsiteX4" fmla="*/ 570773 w 4677561"/>
              <a:gd name="connsiteY4" fmla="*/ 1 h 4081800"/>
              <a:gd name="connsiteX0" fmla="*/ 599816 w 4706604"/>
              <a:gd name="connsiteY0" fmla="*/ 1 h 4081800"/>
              <a:gd name="connsiteX1" fmla="*/ 4706604 w 4706604"/>
              <a:gd name="connsiteY1" fmla="*/ 0 h 4081800"/>
              <a:gd name="connsiteX2" fmla="*/ 4697812 w 4706604"/>
              <a:gd name="connsiteY2" fmla="*/ 4081800 h 4081800"/>
              <a:gd name="connsiteX3" fmla="*/ 511892 w 4706604"/>
              <a:gd name="connsiteY3" fmla="*/ 3659769 h 4081800"/>
              <a:gd name="connsiteX4" fmla="*/ 599816 w 4706604"/>
              <a:gd name="connsiteY4" fmla="*/ 1 h 4081800"/>
              <a:gd name="connsiteX0" fmla="*/ 599816 w 4706604"/>
              <a:gd name="connsiteY0" fmla="*/ 1 h 3659769"/>
              <a:gd name="connsiteX1" fmla="*/ 4706604 w 4706604"/>
              <a:gd name="connsiteY1" fmla="*/ 0 h 3659769"/>
              <a:gd name="connsiteX2" fmla="*/ 4645059 w 4706604"/>
              <a:gd name="connsiteY2" fmla="*/ 3624600 h 3659769"/>
              <a:gd name="connsiteX3" fmla="*/ 511892 w 4706604"/>
              <a:gd name="connsiteY3" fmla="*/ 3659769 h 3659769"/>
              <a:gd name="connsiteX4" fmla="*/ 599816 w 4706604"/>
              <a:gd name="connsiteY4" fmla="*/ 1 h 3659769"/>
              <a:gd name="connsiteX0" fmla="*/ 599816 w 4707450"/>
              <a:gd name="connsiteY0" fmla="*/ 1 h 3659769"/>
              <a:gd name="connsiteX1" fmla="*/ 4706604 w 4707450"/>
              <a:gd name="connsiteY1" fmla="*/ 0 h 3659769"/>
              <a:gd name="connsiteX2" fmla="*/ 4706605 w 4707450"/>
              <a:gd name="connsiteY2" fmla="*/ 3650977 h 3659769"/>
              <a:gd name="connsiteX3" fmla="*/ 511892 w 4707450"/>
              <a:gd name="connsiteY3" fmla="*/ 3659769 h 3659769"/>
              <a:gd name="connsiteX4" fmla="*/ 599816 w 4707450"/>
              <a:gd name="connsiteY4" fmla="*/ 1 h 3659769"/>
              <a:gd name="connsiteX0" fmla="*/ 634214 w 4741848"/>
              <a:gd name="connsiteY0" fmla="*/ 1 h 3668316"/>
              <a:gd name="connsiteX1" fmla="*/ 4741002 w 4741848"/>
              <a:gd name="connsiteY1" fmla="*/ 0 h 3668316"/>
              <a:gd name="connsiteX2" fmla="*/ 4741003 w 4741848"/>
              <a:gd name="connsiteY2" fmla="*/ 3650977 h 3668316"/>
              <a:gd name="connsiteX3" fmla="*/ 469369 w 4741848"/>
              <a:gd name="connsiteY3" fmla="*/ 3668316 h 3668316"/>
              <a:gd name="connsiteX4" fmla="*/ 634214 w 4741848"/>
              <a:gd name="connsiteY4" fmla="*/ 1 h 3668316"/>
              <a:gd name="connsiteX0" fmla="*/ 642249 w 4732789"/>
              <a:gd name="connsiteY0" fmla="*/ 1 h 3668316"/>
              <a:gd name="connsiteX1" fmla="*/ 4731943 w 4732789"/>
              <a:gd name="connsiteY1" fmla="*/ 0 h 3668316"/>
              <a:gd name="connsiteX2" fmla="*/ 4731944 w 4732789"/>
              <a:gd name="connsiteY2" fmla="*/ 3650977 h 3668316"/>
              <a:gd name="connsiteX3" fmla="*/ 460310 w 4732789"/>
              <a:gd name="connsiteY3" fmla="*/ 3668316 h 3668316"/>
              <a:gd name="connsiteX4" fmla="*/ 642249 w 4732789"/>
              <a:gd name="connsiteY4" fmla="*/ 1 h 3668316"/>
              <a:gd name="connsiteX0" fmla="*/ 642249 w 4732789"/>
              <a:gd name="connsiteY0" fmla="*/ 1 h 3680688"/>
              <a:gd name="connsiteX1" fmla="*/ 4731943 w 4732789"/>
              <a:gd name="connsiteY1" fmla="*/ 0 h 3680688"/>
              <a:gd name="connsiteX2" fmla="*/ 4731944 w 4732789"/>
              <a:gd name="connsiteY2" fmla="*/ 3680688 h 3680688"/>
              <a:gd name="connsiteX3" fmla="*/ 460310 w 4732789"/>
              <a:gd name="connsiteY3" fmla="*/ 3668316 h 3680688"/>
              <a:gd name="connsiteX4" fmla="*/ 642249 w 4732789"/>
              <a:gd name="connsiteY4" fmla="*/ 1 h 3680688"/>
              <a:gd name="connsiteX0" fmla="*/ 642249 w 4732789"/>
              <a:gd name="connsiteY0" fmla="*/ 1 h 3681521"/>
              <a:gd name="connsiteX1" fmla="*/ 4731943 w 4732789"/>
              <a:gd name="connsiteY1" fmla="*/ 0 h 3681521"/>
              <a:gd name="connsiteX2" fmla="*/ 4731944 w 4732789"/>
              <a:gd name="connsiteY2" fmla="*/ 3680688 h 3681521"/>
              <a:gd name="connsiteX3" fmla="*/ 460310 w 4732789"/>
              <a:gd name="connsiteY3" fmla="*/ 3681521 h 3681521"/>
              <a:gd name="connsiteX4" fmla="*/ 642249 w 4732789"/>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51938 w 4742478"/>
              <a:gd name="connsiteY0" fmla="*/ 1 h 3681521"/>
              <a:gd name="connsiteX1" fmla="*/ 4741632 w 4742478"/>
              <a:gd name="connsiteY1" fmla="*/ 0 h 3681521"/>
              <a:gd name="connsiteX2" fmla="*/ 4741633 w 4742478"/>
              <a:gd name="connsiteY2" fmla="*/ 3680688 h 3681521"/>
              <a:gd name="connsiteX3" fmla="*/ 469999 w 4742478"/>
              <a:gd name="connsiteY3" fmla="*/ 3681521 h 3681521"/>
              <a:gd name="connsiteX4" fmla="*/ 651938 w 4742478"/>
              <a:gd name="connsiteY4" fmla="*/ 1 h 3681521"/>
              <a:gd name="connsiteX0" fmla="*/ 636661 w 4760368"/>
              <a:gd name="connsiteY0" fmla="*/ 5491 h 3681521"/>
              <a:gd name="connsiteX1" fmla="*/ 4759522 w 4760368"/>
              <a:gd name="connsiteY1" fmla="*/ 0 h 3681521"/>
              <a:gd name="connsiteX2" fmla="*/ 4759523 w 4760368"/>
              <a:gd name="connsiteY2" fmla="*/ 3680688 h 3681521"/>
              <a:gd name="connsiteX3" fmla="*/ 487889 w 4760368"/>
              <a:gd name="connsiteY3" fmla="*/ 3681521 h 3681521"/>
              <a:gd name="connsiteX4" fmla="*/ 636661 w 4760368"/>
              <a:gd name="connsiteY4" fmla="*/ 5491 h 3681521"/>
              <a:gd name="connsiteX0" fmla="*/ 629168 w 4769574"/>
              <a:gd name="connsiteY0" fmla="*/ 8808 h 3681521"/>
              <a:gd name="connsiteX1" fmla="*/ 4768728 w 4769574"/>
              <a:gd name="connsiteY1" fmla="*/ 0 h 3681521"/>
              <a:gd name="connsiteX2" fmla="*/ 4768729 w 4769574"/>
              <a:gd name="connsiteY2" fmla="*/ 3680688 h 3681521"/>
              <a:gd name="connsiteX3" fmla="*/ 497095 w 4769574"/>
              <a:gd name="connsiteY3" fmla="*/ 3681521 h 3681521"/>
              <a:gd name="connsiteX4" fmla="*/ 629168 w 4769574"/>
              <a:gd name="connsiteY4" fmla="*/ 8808 h 3681521"/>
              <a:gd name="connsiteX0" fmla="*/ 601494 w 4741900"/>
              <a:gd name="connsiteY0" fmla="*/ 8808 h 3684838"/>
              <a:gd name="connsiteX1" fmla="*/ 4741054 w 4741900"/>
              <a:gd name="connsiteY1" fmla="*/ 0 h 3684838"/>
              <a:gd name="connsiteX2" fmla="*/ 4741055 w 4741900"/>
              <a:gd name="connsiteY2" fmla="*/ 3680688 h 3684838"/>
              <a:gd name="connsiteX3" fmla="*/ 533787 w 4741900"/>
              <a:gd name="connsiteY3" fmla="*/ 3684838 h 3684838"/>
              <a:gd name="connsiteX4" fmla="*/ 601494 w 4741900"/>
              <a:gd name="connsiteY4" fmla="*/ 8808 h 3684838"/>
              <a:gd name="connsiteX0" fmla="*/ 617057 w 4757463"/>
              <a:gd name="connsiteY0" fmla="*/ 8808 h 3680688"/>
              <a:gd name="connsiteX1" fmla="*/ 4756617 w 4757463"/>
              <a:gd name="connsiteY1" fmla="*/ 0 h 3680688"/>
              <a:gd name="connsiteX2" fmla="*/ 4756618 w 4757463"/>
              <a:gd name="connsiteY2" fmla="*/ 3680688 h 3680688"/>
              <a:gd name="connsiteX3" fmla="*/ 512611 w 4757463"/>
              <a:gd name="connsiteY3" fmla="*/ 3678203 h 3680688"/>
              <a:gd name="connsiteX4" fmla="*/ 617057 w 4757463"/>
              <a:gd name="connsiteY4" fmla="*/ 8808 h 3680688"/>
              <a:gd name="connsiteX0" fmla="*/ 602464 w 4742870"/>
              <a:gd name="connsiteY0" fmla="*/ 8808 h 3680688"/>
              <a:gd name="connsiteX1" fmla="*/ 4742024 w 4742870"/>
              <a:gd name="connsiteY1" fmla="*/ 0 h 3680688"/>
              <a:gd name="connsiteX2" fmla="*/ 4742025 w 4742870"/>
              <a:gd name="connsiteY2" fmla="*/ 3680688 h 3680688"/>
              <a:gd name="connsiteX3" fmla="*/ 498018 w 4742870"/>
              <a:gd name="connsiteY3" fmla="*/ 3678203 h 3680688"/>
              <a:gd name="connsiteX4" fmla="*/ 602464 w 4742870"/>
              <a:gd name="connsiteY4" fmla="*/ 8808 h 3680688"/>
              <a:gd name="connsiteX0" fmla="*/ 586378 w 4726784"/>
              <a:gd name="connsiteY0" fmla="*/ 8808 h 3680688"/>
              <a:gd name="connsiteX1" fmla="*/ 4725938 w 4726784"/>
              <a:gd name="connsiteY1" fmla="*/ 0 h 3680688"/>
              <a:gd name="connsiteX2" fmla="*/ 4725939 w 4726784"/>
              <a:gd name="connsiteY2" fmla="*/ 3680688 h 3680688"/>
              <a:gd name="connsiteX3" fmla="*/ 481932 w 4726784"/>
              <a:gd name="connsiteY3" fmla="*/ 3678203 h 3680688"/>
              <a:gd name="connsiteX4" fmla="*/ 586378 w 4726784"/>
              <a:gd name="connsiteY4" fmla="*/ 8808 h 3680688"/>
              <a:gd name="connsiteX0" fmla="*/ 575515 w 4715921"/>
              <a:gd name="connsiteY0" fmla="*/ 8808 h 3680688"/>
              <a:gd name="connsiteX1" fmla="*/ 4715075 w 4715921"/>
              <a:gd name="connsiteY1" fmla="*/ 0 h 3680688"/>
              <a:gd name="connsiteX2" fmla="*/ 4715076 w 4715921"/>
              <a:gd name="connsiteY2" fmla="*/ 3680688 h 3680688"/>
              <a:gd name="connsiteX3" fmla="*/ 471069 w 4715921"/>
              <a:gd name="connsiteY3" fmla="*/ 3678203 h 3680688"/>
              <a:gd name="connsiteX4" fmla="*/ 575515 w 4715921"/>
              <a:gd name="connsiteY4" fmla="*/ 8808 h 3680688"/>
              <a:gd name="connsiteX0" fmla="*/ 587738 w 4728144"/>
              <a:gd name="connsiteY0" fmla="*/ 8808 h 3680688"/>
              <a:gd name="connsiteX1" fmla="*/ 4727298 w 4728144"/>
              <a:gd name="connsiteY1" fmla="*/ 0 h 3680688"/>
              <a:gd name="connsiteX2" fmla="*/ 4727299 w 4728144"/>
              <a:gd name="connsiteY2" fmla="*/ 3680688 h 3680688"/>
              <a:gd name="connsiteX3" fmla="*/ 483292 w 4728144"/>
              <a:gd name="connsiteY3" fmla="*/ 3678203 h 3680688"/>
              <a:gd name="connsiteX4" fmla="*/ 587738 w 4728144"/>
              <a:gd name="connsiteY4" fmla="*/ 8808 h 3680688"/>
              <a:gd name="connsiteX0" fmla="*/ 592227 w 4732633"/>
              <a:gd name="connsiteY0" fmla="*/ 8808 h 3680688"/>
              <a:gd name="connsiteX1" fmla="*/ 4731787 w 4732633"/>
              <a:gd name="connsiteY1" fmla="*/ 0 h 3680688"/>
              <a:gd name="connsiteX2" fmla="*/ 4731788 w 4732633"/>
              <a:gd name="connsiteY2" fmla="*/ 3680688 h 3680688"/>
              <a:gd name="connsiteX3" fmla="*/ 487781 w 4732633"/>
              <a:gd name="connsiteY3" fmla="*/ 3678203 h 3680688"/>
              <a:gd name="connsiteX4" fmla="*/ 592227 w 4732633"/>
              <a:gd name="connsiteY4" fmla="*/ 8808 h 3680688"/>
              <a:gd name="connsiteX0" fmla="*/ 590793 w 4734538"/>
              <a:gd name="connsiteY0" fmla="*/ 2174 h 3680688"/>
              <a:gd name="connsiteX1" fmla="*/ 4733692 w 4734538"/>
              <a:gd name="connsiteY1" fmla="*/ 0 h 3680688"/>
              <a:gd name="connsiteX2" fmla="*/ 4733693 w 4734538"/>
              <a:gd name="connsiteY2" fmla="*/ 3680688 h 3680688"/>
              <a:gd name="connsiteX3" fmla="*/ 489686 w 4734538"/>
              <a:gd name="connsiteY3" fmla="*/ 3678203 h 3680688"/>
              <a:gd name="connsiteX4" fmla="*/ 590793 w 4734538"/>
              <a:gd name="connsiteY4" fmla="*/ 2174 h 3680688"/>
              <a:gd name="connsiteX0" fmla="*/ 598022 w 4725068"/>
              <a:gd name="connsiteY0" fmla="*/ 0 h 3681831"/>
              <a:gd name="connsiteX1" fmla="*/ 4724222 w 4725068"/>
              <a:gd name="connsiteY1" fmla="*/ 1143 h 3681831"/>
              <a:gd name="connsiteX2" fmla="*/ 4724223 w 4725068"/>
              <a:gd name="connsiteY2" fmla="*/ 3681831 h 3681831"/>
              <a:gd name="connsiteX3" fmla="*/ 480216 w 4725068"/>
              <a:gd name="connsiteY3" fmla="*/ 3679346 h 3681831"/>
              <a:gd name="connsiteX4" fmla="*/ 598022 w 4725068"/>
              <a:gd name="connsiteY4" fmla="*/ 0 h 3681831"/>
              <a:gd name="connsiteX0" fmla="*/ 598022 w 4725068"/>
              <a:gd name="connsiteY0" fmla="*/ 0 h 3685148"/>
              <a:gd name="connsiteX1" fmla="*/ 4724222 w 4725068"/>
              <a:gd name="connsiteY1" fmla="*/ 4460 h 3685148"/>
              <a:gd name="connsiteX2" fmla="*/ 4724223 w 4725068"/>
              <a:gd name="connsiteY2" fmla="*/ 3685148 h 3685148"/>
              <a:gd name="connsiteX3" fmla="*/ 480216 w 4725068"/>
              <a:gd name="connsiteY3" fmla="*/ 3682663 h 3685148"/>
              <a:gd name="connsiteX4" fmla="*/ 598022 w 4725068"/>
              <a:gd name="connsiteY4" fmla="*/ 0 h 3685148"/>
              <a:gd name="connsiteX0" fmla="*/ 596565 w 4726950"/>
              <a:gd name="connsiteY0" fmla="*/ 2174 h 3680688"/>
              <a:gd name="connsiteX1" fmla="*/ 4726104 w 4726950"/>
              <a:gd name="connsiteY1" fmla="*/ 0 h 3680688"/>
              <a:gd name="connsiteX2" fmla="*/ 4726105 w 4726950"/>
              <a:gd name="connsiteY2" fmla="*/ 3680688 h 3680688"/>
              <a:gd name="connsiteX3" fmla="*/ 482098 w 4726950"/>
              <a:gd name="connsiteY3" fmla="*/ 3678203 h 3680688"/>
              <a:gd name="connsiteX4" fmla="*/ 596565 w 4726950"/>
              <a:gd name="connsiteY4" fmla="*/ 2174 h 3680688"/>
              <a:gd name="connsiteX0" fmla="*/ 600621 w 4731006"/>
              <a:gd name="connsiteY0" fmla="*/ 2174 h 3680688"/>
              <a:gd name="connsiteX1" fmla="*/ 4730160 w 4731006"/>
              <a:gd name="connsiteY1" fmla="*/ 0 h 3680688"/>
              <a:gd name="connsiteX2" fmla="*/ 4730161 w 4731006"/>
              <a:gd name="connsiteY2" fmla="*/ 3680688 h 3680688"/>
              <a:gd name="connsiteX3" fmla="*/ 486154 w 4731006"/>
              <a:gd name="connsiteY3" fmla="*/ 3678203 h 3680688"/>
              <a:gd name="connsiteX4" fmla="*/ 600621 w 4731006"/>
              <a:gd name="connsiteY4" fmla="*/ 2174 h 3680688"/>
              <a:gd name="connsiteX0" fmla="*/ 599177 w 4729562"/>
              <a:gd name="connsiteY0" fmla="*/ 2174 h 3688155"/>
              <a:gd name="connsiteX1" fmla="*/ 4728716 w 4729562"/>
              <a:gd name="connsiteY1" fmla="*/ 0 h 3688155"/>
              <a:gd name="connsiteX2" fmla="*/ 4728717 w 4729562"/>
              <a:gd name="connsiteY2" fmla="*/ 3680688 h 3688155"/>
              <a:gd name="connsiteX3" fmla="*/ 488050 w 4729562"/>
              <a:gd name="connsiteY3" fmla="*/ 3688155 h 3688155"/>
              <a:gd name="connsiteX4" fmla="*/ 599177 w 4729562"/>
              <a:gd name="connsiteY4" fmla="*/ 2174 h 3688155"/>
              <a:gd name="connsiteX0" fmla="*/ 599177 w 4729562"/>
              <a:gd name="connsiteY0" fmla="*/ 0 h 3685981"/>
              <a:gd name="connsiteX1" fmla="*/ 4728716 w 4729562"/>
              <a:gd name="connsiteY1" fmla="*/ 1143 h 3685981"/>
              <a:gd name="connsiteX2" fmla="*/ 4728717 w 4729562"/>
              <a:gd name="connsiteY2" fmla="*/ 3678514 h 3685981"/>
              <a:gd name="connsiteX3" fmla="*/ 488050 w 4729562"/>
              <a:gd name="connsiteY3" fmla="*/ 3685981 h 3685981"/>
              <a:gd name="connsiteX4" fmla="*/ 599177 w 4729562"/>
              <a:gd name="connsiteY4" fmla="*/ 0 h 3685981"/>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6303 w 4733367"/>
              <a:gd name="connsiteY0" fmla="*/ 5491 h 3684838"/>
              <a:gd name="connsiteX1" fmla="*/ 4732521 w 4733367"/>
              <a:gd name="connsiteY1" fmla="*/ 0 h 3684838"/>
              <a:gd name="connsiteX2" fmla="*/ 4732522 w 4733367"/>
              <a:gd name="connsiteY2" fmla="*/ 3677371 h 3684838"/>
              <a:gd name="connsiteX3" fmla="*/ 491855 w 4733367"/>
              <a:gd name="connsiteY3" fmla="*/ 3684838 h 3684838"/>
              <a:gd name="connsiteX4" fmla="*/ 596303 w 4733367"/>
              <a:gd name="connsiteY4" fmla="*/ 5491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2174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2174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96304 w 4733368"/>
              <a:gd name="connsiteY0" fmla="*/ 5491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5491 h 3684838"/>
              <a:gd name="connsiteX0" fmla="*/ 594875 w 4735279"/>
              <a:gd name="connsiteY0" fmla="*/ 5491 h 3684838"/>
              <a:gd name="connsiteX1" fmla="*/ 4734433 w 4735279"/>
              <a:gd name="connsiteY1" fmla="*/ 0 h 3684838"/>
              <a:gd name="connsiteX2" fmla="*/ 4734434 w 4735279"/>
              <a:gd name="connsiteY2" fmla="*/ 3677371 h 3684838"/>
              <a:gd name="connsiteX3" fmla="*/ 493767 w 4735279"/>
              <a:gd name="connsiteY3" fmla="*/ 3684838 h 3684838"/>
              <a:gd name="connsiteX4" fmla="*/ 594875 w 4735279"/>
              <a:gd name="connsiteY4" fmla="*/ 5491 h 3684838"/>
              <a:gd name="connsiteX0" fmla="*/ 596304 w 4733368"/>
              <a:gd name="connsiteY0" fmla="*/ 2174 h 3684838"/>
              <a:gd name="connsiteX1" fmla="*/ 4732522 w 4733368"/>
              <a:gd name="connsiteY1" fmla="*/ 0 h 3684838"/>
              <a:gd name="connsiteX2" fmla="*/ 4732523 w 4733368"/>
              <a:gd name="connsiteY2" fmla="*/ 3677371 h 3684838"/>
              <a:gd name="connsiteX3" fmla="*/ 491856 w 4733368"/>
              <a:gd name="connsiteY3" fmla="*/ 3684838 h 3684838"/>
              <a:gd name="connsiteX4" fmla="*/ 596304 w 4733368"/>
              <a:gd name="connsiteY4" fmla="*/ 2174 h 3684838"/>
              <a:gd name="connsiteX0" fmla="*/ 585455 w 4722519"/>
              <a:gd name="connsiteY0" fmla="*/ 2174 h 3684838"/>
              <a:gd name="connsiteX1" fmla="*/ 4721673 w 4722519"/>
              <a:gd name="connsiteY1" fmla="*/ 0 h 3684838"/>
              <a:gd name="connsiteX2" fmla="*/ 4721674 w 4722519"/>
              <a:gd name="connsiteY2" fmla="*/ 3677371 h 3684838"/>
              <a:gd name="connsiteX3" fmla="*/ 481007 w 4722519"/>
              <a:gd name="connsiteY3" fmla="*/ 3684838 h 3684838"/>
              <a:gd name="connsiteX4" fmla="*/ 585455 w 4722519"/>
              <a:gd name="connsiteY4" fmla="*/ 2174 h 3684838"/>
              <a:gd name="connsiteX0" fmla="*/ 593586 w 4730650"/>
              <a:gd name="connsiteY0" fmla="*/ 2174 h 3684838"/>
              <a:gd name="connsiteX1" fmla="*/ 4729804 w 4730650"/>
              <a:gd name="connsiteY1" fmla="*/ 0 h 3684838"/>
              <a:gd name="connsiteX2" fmla="*/ 4729805 w 4730650"/>
              <a:gd name="connsiteY2" fmla="*/ 3677371 h 3684838"/>
              <a:gd name="connsiteX3" fmla="*/ 489138 w 4730650"/>
              <a:gd name="connsiteY3" fmla="*/ 3684838 h 3684838"/>
              <a:gd name="connsiteX4" fmla="*/ 593586 w 4730650"/>
              <a:gd name="connsiteY4" fmla="*/ 2174 h 3684838"/>
              <a:gd name="connsiteX0" fmla="*/ 593586 w 4736932"/>
              <a:gd name="connsiteY0" fmla="*/ 2174 h 3687322"/>
              <a:gd name="connsiteX1" fmla="*/ 4729804 w 4736932"/>
              <a:gd name="connsiteY1" fmla="*/ 0 h 3687322"/>
              <a:gd name="connsiteX2" fmla="*/ 4736485 w 4736932"/>
              <a:gd name="connsiteY2" fmla="*/ 3687322 h 3687322"/>
              <a:gd name="connsiteX3" fmla="*/ 489138 w 4736932"/>
              <a:gd name="connsiteY3" fmla="*/ 3684838 h 3687322"/>
              <a:gd name="connsiteX4" fmla="*/ 593586 w 4736932"/>
              <a:gd name="connsiteY4" fmla="*/ 2174 h 3687322"/>
              <a:gd name="connsiteX0" fmla="*/ 593586 w 4739824"/>
              <a:gd name="connsiteY0" fmla="*/ 2174 h 3687322"/>
              <a:gd name="connsiteX1" fmla="*/ 4739824 w 4739824"/>
              <a:gd name="connsiteY1" fmla="*/ 0 h 3687322"/>
              <a:gd name="connsiteX2" fmla="*/ 4736485 w 4739824"/>
              <a:gd name="connsiteY2" fmla="*/ 3687322 h 3687322"/>
              <a:gd name="connsiteX3" fmla="*/ 489138 w 4739824"/>
              <a:gd name="connsiteY3" fmla="*/ 3684838 h 3687322"/>
              <a:gd name="connsiteX4" fmla="*/ 593586 w 4739824"/>
              <a:gd name="connsiteY4" fmla="*/ 2174 h 3687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9824" h="3687322">
                <a:moveTo>
                  <a:pt x="593586" y="2174"/>
                </a:moveTo>
                <a:lnTo>
                  <a:pt x="4739824" y="0"/>
                </a:lnTo>
                <a:cubicBezTo>
                  <a:pt x="4736893" y="1360600"/>
                  <a:pt x="4739416" y="2326722"/>
                  <a:pt x="4736485" y="3687322"/>
                </a:cubicBezTo>
                <a:lnTo>
                  <a:pt x="489138" y="3684838"/>
                </a:lnTo>
                <a:cubicBezTo>
                  <a:pt x="18231" y="2928543"/>
                  <a:pt x="-365842" y="1442490"/>
                  <a:pt x="593586" y="2174"/>
                </a:cubicBezTo>
                <a:close/>
              </a:path>
            </a:pathLst>
          </a:custGeom>
          <a:solidFill>
            <a:schemeClr val="bg2"/>
          </a:solidFill>
          <a:ln w="19050">
            <a:noFill/>
          </a:ln>
        </p:spPr>
        <p:txBody>
          <a:bodyPr vert="horz" lIns="731520" tIns="365760" rIns="731520" bIns="365760" anchor="b" anchorCtr="0"/>
          <a:lstStyle>
            <a:lvl1pPr marL="0" marR="0" indent="0" algn="l" defTabSz="609585" rtl="0" eaLnBrk="1" fontAlgn="auto" latinLnBrk="0" hangingPunct="1">
              <a:lnSpc>
                <a:spcPct val="110000"/>
              </a:lnSpc>
              <a:spcBef>
                <a:spcPct val="20000"/>
              </a:spcBef>
              <a:spcAft>
                <a:spcPts val="0"/>
              </a:spcAft>
              <a:buClrTx/>
              <a:buSzTx/>
              <a:buFont typeface="Arial"/>
              <a:buNone/>
              <a:tabLst/>
              <a:defRPr sz="1867" baseline="0">
                <a:solidFill>
                  <a:schemeClr val="bg1"/>
                </a:solidFill>
              </a:defRPr>
            </a:lvl1pPr>
          </a:lstStyle>
          <a:p>
            <a:r>
              <a:rPr lang="en-GB" noProof="0"/>
              <a:t>Click icon above to add a photo. Do not use this slide without a photo. See the “Instructions for adding photo” slide for more information.</a:t>
            </a:r>
          </a:p>
        </p:txBody>
      </p:sp>
      <p:sp>
        <p:nvSpPr>
          <p:cNvPr id="9" name="Title 2"/>
          <p:cNvSpPr>
            <a:spLocks noGrp="1"/>
          </p:cNvSpPr>
          <p:nvPr>
            <p:ph type="title" hasCustomPrompt="1"/>
          </p:nvPr>
        </p:nvSpPr>
        <p:spPr>
          <a:xfrm>
            <a:off x="594885" y="3493084"/>
            <a:ext cx="5196316" cy="725311"/>
          </a:xfrm>
          <a:prstGeom prst="rect">
            <a:avLst/>
          </a:prstGeom>
        </p:spPr>
        <p:txBody>
          <a:bodyPr lIns="0" tIns="0" rIns="0" bIns="0" anchor="t" anchorCtr="0"/>
          <a:lstStyle>
            <a:lvl1pPr algn="l">
              <a:lnSpc>
                <a:spcPct val="100000"/>
              </a:lnSpc>
              <a:defRPr sz="2133"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594895" y="4341549"/>
            <a:ext cx="5196311" cy="205052"/>
          </a:xfrm>
          <a:prstGeom prst="rect">
            <a:avLst/>
          </a:prstGeom>
        </p:spPr>
        <p:txBody>
          <a:bodyPr lIns="0" tIns="0" rIns="0" bIns="0"/>
          <a:lstStyle>
            <a:lvl1pPr marL="0" indent="0" algn="l">
              <a:buNone/>
              <a:defRPr sz="1333" b="0" i="0" cap="none" spc="120" baseline="0">
                <a:solidFill>
                  <a:srgbClr val="FFFFFF"/>
                </a:solidFill>
                <a:latin typeface="Verdana"/>
                <a:cs typeface="Verdana"/>
              </a:defRPr>
            </a:lvl1pPr>
          </a:lstStyle>
          <a:p>
            <a:pPr lvl="0"/>
            <a:r>
              <a:rPr lang="en-GB" noProof="0"/>
              <a:t>Click to add subtitle</a:t>
            </a:r>
          </a:p>
        </p:txBody>
      </p:sp>
      <p:sp>
        <p:nvSpPr>
          <p:cNvPr id="14" name="Text Placeholder 19"/>
          <p:cNvSpPr>
            <a:spLocks noGrp="1"/>
          </p:cNvSpPr>
          <p:nvPr>
            <p:ph type="body" sz="quarter" idx="12" hasCustomPrompt="1"/>
          </p:nvPr>
        </p:nvSpPr>
        <p:spPr>
          <a:xfrm>
            <a:off x="609625" y="4863067"/>
            <a:ext cx="5187443" cy="205052"/>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609601" y="5113853"/>
            <a:ext cx="5187457"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9371774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o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94885" y="3493084"/>
            <a:ext cx="7290036" cy="725311"/>
          </a:xfrm>
          <a:prstGeom prst="rect">
            <a:avLst/>
          </a:prstGeom>
        </p:spPr>
        <p:txBody>
          <a:bodyPr lIns="0" tIns="0" rIns="0" bIns="0" anchor="t" anchorCtr="0"/>
          <a:lstStyle>
            <a:lvl1pPr algn="l">
              <a:lnSpc>
                <a:spcPct val="100000"/>
              </a:lnSpc>
              <a:defRPr sz="2133"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594895" y="4341549"/>
            <a:ext cx="7290028" cy="205052"/>
          </a:xfrm>
          <a:prstGeom prst="rect">
            <a:avLst/>
          </a:prstGeom>
        </p:spPr>
        <p:txBody>
          <a:bodyPr lIns="0" tIns="0" rIns="0" bIns="0"/>
          <a:lstStyle>
            <a:lvl1pPr marL="0" indent="0" algn="l">
              <a:buNone/>
              <a:defRPr sz="1333" b="0" i="0" cap="none" spc="120" baseline="0">
                <a:solidFill>
                  <a:srgbClr val="FFFFFF"/>
                </a:solidFill>
                <a:latin typeface="Verdana"/>
                <a:cs typeface="Verdana"/>
              </a:defRPr>
            </a:lvl1pPr>
          </a:lstStyle>
          <a:p>
            <a:pPr lvl="0"/>
            <a:r>
              <a:rPr lang="en-GB" noProof="0"/>
              <a:t>Click to add subtitle</a:t>
            </a:r>
          </a:p>
        </p:txBody>
      </p:sp>
      <p:sp>
        <p:nvSpPr>
          <p:cNvPr id="14" name="Text Placeholder 19"/>
          <p:cNvSpPr>
            <a:spLocks noGrp="1"/>
          </p:cNvSpPr>
          <p:nvPr>
            <p:ph type="body" sz="quarter" idx="12" hasCustomPrompt="1"/>
          </p:nvPr>
        </p:nvSpPr>
        <p:spPr>
          <a:xfrm>
            <a:off x="609625" y="4863067"/>
            <a:ext cx="7277588" cy="205052"/>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609600" y="5113853"/>
            <a:ext cx="7277608"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13495748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ue 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615F627-D1EC-5757-58CD-9BBE9147178B}"/>
              </a:ext>
            </a:extLst>
          </p:cNvPr>
          <p:cNvGraphicFramePr>
            <a:graphicFrameLocks noChangeAspect="1"/>
          </p:cNvGraphicFramePr>
          <p:nvPr userDrawn="1">
            <p:custDataLst>
              <p:tags r:id="rId1"/>
            </p:custDataLst>
            <p:extLst>
              <p:ext uri="{D42A27DB-BD31-4B8C-83A1-F6EECF244321}">
                <p14:modId xmlns:p14="http://schemas.microsoft.com/office/powerpoint/2010/main" val="3875177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think-cell data - do not delete" hidden="1">
                        <a:extLst>
                          <a:ext uri="{FF2B5EF4-FFF2-40B4-BE49-F238E27FC236}">
                            <a16:creationId xmlns:a16="http://schemas.microsoft.com/office/drawing/2014/main" id="{F615F627-D1EC-5757-58CD-9BBE914717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9"/>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itle Placeholder 1">
            <a:extLst>
              <a:ext uri="{FF2B5EF4-FFF2-40B4-BE49-F238E27FC236}">
                <a16:creationId xmlns:a16="http://schemas.microsoft.com/office/drawing/2014/main" id="{0B4F1D30-58C0-2439-3C9F-B9620FD59320}"/>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28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33037427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rang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ext Placeholder 19">
            <a:extLst>
              <a:ext uri="{FF2B5EF4-FFF2-40B4-BE49-F238E27FC236}">
                <a16:creationId xmlns:a16="http://schemas.microsoft.com/office/drawing/2014/main" id="{EA470840-6830-0355-7809-F8C901949B68}"/>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718131DC-3F72-C578-A90A-5DA37F7D22BA}"/>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36615331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lat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2382582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6168484" y="2419234"/>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6166679" y="1643070"/>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
        <p:nvSpPr>
          <p:cNvPr id="13" name="Picture Placeholder 4"/>
          <p:cNvSpPr>
            <a:spLocks noGrp="1"/>
          </p:cNvSpPr>
          <p:nvPr>
            <p:ph type="pic" sz="quarter" idx="14" hasCustomPrompt="1"/>
          </p:nvPr>
        </p:nvSpPr>
        <p:spPr>
          <a:xfrm>
            <a:off x="596900" y="1293411"/>
            <a:ext cx="5189667" cy="4675367"/>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3" name="Title Placeholder 1">
            <a:extLst>
              <a:ext uri="{FF2B5EF4-FFF2-40B4-BE49-F238E27FC236}">
                <a16:creationId xmlns:a16="http://schemas.microsoft.com/office/drawing/2014/main" id="{2DEBA183-A998-BB28-42B7-5EB1D60E761C}"/>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Tree>
    <p:extLst>
      <p:ext uri="{BB962C8B-B14F-4D97-AF65-F5344CB8AC3E}">
        <p14:creationId xmlns:p14="http://schemas.microsoft.com/office/powerpoint/2010/main" val="13899793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Raspberry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151708967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s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41659507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ky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18494120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each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28917707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ditable Colou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3EA452-E4C8-02D1-4C99-87124FC67D1D}"/>
              </a:ext>
            </a:extLst>
          </p:cNvPr>
          <p:cNvSpPr/>
          <p:nvPr userDrawn="1"/>
        </p:nvSpPr>
        <p:spPr>
          <a:xfrm>
            <a:off x="0" y="0"/>
            <a:ext cx="12192000" cy="6084163"/>
          </a:xfrm>
          <a:prstGeom prst="rect">
            <a:avLst/>
          </a:prstGeom>
          <a:solidFill>
            <a:srgbClr val="888B8D"/>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9" name="Picture 8">
            <a:extLst>
              <a:ext uri="{FF2B5EF4-FFF2-40B4-BE49-F238E27FC236}">
                <a16:creationId xmlns:a16="http://schemas.microsoft.com/office/drawing/2014/main" id="{E359E0A6-0CBB-59A6-4A9F-95245214E1BE}"/>
              </a:ext>
            </a:extLst>
          </p:cNvPr>
          <p:cNvPicPr>
            <a:picLocks noChangeAspect="1"/>
          </p:cNvPicPr>
          <p:nvPr userDrawn="1"/>
        </p:nvPicPr>
        <p:blipFill>
          <a:blip r:embed="rId3">
            <a:alphaModFix amt="58000"/>
          </a:blip>
          <a:srcRect l="46207" b="11283"/>
          <a:stretch/>
        </p:blipFill>
        <p:spPr>
          <a:xfrm>
            <a:off x="5631543" y="0"/>
            <a:ext cx="6558456" cy="6084163"/>
          </a:xfrm>
          <a:prstGeom prst="rect">
            <a:avLst/>
          </a:prstGeom>
        </p:spPr>
      </p:pic>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chemeClr val="bg1"/>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Editable colour in master divider slide</a:t>
            </a:r>
          </a:p>
        </p:txBody>
      </p:sp>
    </p:spTree>
    <p:extLst>
      <p:ext uri="{BB962C8B-B14F-4D97-AF65-F5344CB8AC3E}">
        <p14:creationId xmlns:p14="http://schemas.microsoft.com/office/powerpoint/2010/main" val="40841213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Editable Colour 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F62B9E-73E4-A878-798C-CBC75FE3165E}"/>
              </a:ext>
            </a:extLst>
          </p:cNvPr>
          <p:cNvGraphicFramePr>
            <a:graphicFrameLocks noChangeAspect="1"/>
          </p:cNvGraphicFramePr>
          <p:nvPr userDrawn="1">
            <p:custDataLst>
              <p:tags r:id="rId1"/>
            </p:custDataLst>
            <p:extLst>
              <p:ext uri="{D42A27DB-BD31-4B8C-83A1-F6EECF244321}">
                <p14:modId xmlns:p14="http://schemas.microsoft.com/office/powerpoint/2010/main" val="3268106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8" name="think-cell data - do not delete" hidden="1">
                        <a:extLst>
                          <a:ext uri="{FF2B5EF4-FFF2-40B4-BE49-F238E27FC236}">
                            <a16:creationId xmlns:a16="http://schemas.microsoft.com/office/drawing/2014/main" id="{B2F62B9E-73E4-A878-798C-CBC75FE31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686B2F1-5D8F-58A0-397B-533D0C4772AD}"/>
              </a:ext>
            </a:extLst>
          </p:cNvPr>
          <p:cNvSpPr/>
          <p:nvPr userDrawn="1"/>
        </p:nvSpPr>
        <p:spPr>
          <a:xfrm>
            <a:off x="0" y="0"/>
            <a:ext cx="12192000" cy="6084162"/>
          </a:xfrm>
          <a:prstGeom prst="rect">
            <a:avLst/>
          </a:prstGeom>
          <a:gradFill flip="none" rotWithShape="1">
            <a:gsLst>
              <a:gs pos="0">
                <a:srgbClr val="F26334"/>
              </a:gs>
              <a:gs pos="100000">
                <a:srgbClr val="002C6C"/>
              </a:gs>
            </a:gsLst>
            <a:lin ang="0" scaled="1"/>
            <a:tileRect/>
          </a:gra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rtl="0">
              <a:spcAft>
                <a:spcPts val="300"/>
              </a:spcAft>
            </a:pPr>
            <a:endParaRPr lang="en-GB" sz="1400" b="1" noProof="0">
              <a:solidFill>
                <a:srgbClr val="FFFFFF"/>
              </a:solidFill>
              <a:latin typeface="Verdana"/>
            </a:endParaRPr>
          </a:p>
        </p:txBody>
      </p:sp>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9" name="Picture 8">
            <a:extLst>
              <a:ext uri="{FF2B5EF4-FFF2-40B4-BE49-F238E27FC236}">
                <a16:creationId xmlns:a16="http://schemas.microsoft.com/office/drawing/2014/main" id="{E359E0A6-0CBB-59A6-4A9F-95245214E1BE}"/>
              </a:ext>
            </a:extLst>
          </p:cNvPr>
          <p:cNvPicPr>
            <a:picLocks noChangeAspect="1"/>
          </p:cNvPicPr>
          <p:nvPr userDrawn="1"/>
        </p:nvPicPr>
        <p:blipFill>
          <a:blip r:embed="rId6">
            <a:alphaModFix amt="58000"/>
          </a:blip>
          <a:srcRect l="46207" b="11283"/>
          <a:stretch/>
        </p:blipFill>
        <p:spPr>
          <a:xfrm>
            <a:off x="5631543" y="0"/>
            <a:ext cx="6558456" cy="6084163"/>
          </a:xfrm>
          <a:prstGeom prst="rect">
            <a:avLst/>
          </a:prstGeom>
        </p:spPr>
      </p:pic>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chemeClr val="bg1"/>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Editable colour in master divider slide</a:t>
            </a:r>
          </a:p>
        </p:txBody>
      </p:sp>
    </p:spTree>
    <p:extLst>
      <p:ext uri="{BB962C8B-B14F-4D97-AF65-F5344CB8AC3E}">
        <p14:creationId xmlns:p14="http://schemas.microsoft.com/office/powerpoint/2010/main" val="28431152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Editable Colour 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F62B9E-73E4-A878-798C-CBC75FE3165E}"/>
              </a:ext>
            </a:extLst>
          </p:cNvPr>
          <p:cNvGraphicFramePr>
            <a:graphicFrameLocks noChangeAspect="1"/>
          </p:cNvGraphicFramePr>
          <p:nvPr userDrawn="1">
            <p:custDataLst>
              <p:tags r:id="rId1"/>
            </p:custDataLst>
            <p:extLst>
              <p:ext uri="{D42A27DB-BD31-4B8C-83A1-F6EECF244321}">
                <p14:modId xmlns:p14="http://schemas.microsoft.com/office/powerpoint/2010/main" val="356425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8" name="think-cell data - do not delete" hidden="1">
                        <a:extLst>
                          <a:ext uri="{FF2B5EF4-FFF2-40B4-BE49-F238E27FC236}">
                            <a16:creationId xmlns:a16="http://schemas.microsoft.com/office/drawing/2014/main" id="{B2F62B9E-73E4-A878-798C-CBC75FE31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4" name="Rectangle 3">
            <a:extLst>
              <a:ext uri="{FF2B5EF4-FFF2-40B4-BE49-F238E27FC236}">
                <a16:creationId xmlns:a16="http://schemas.microsoft.com/office/drawing/2014/main" id="{AE77CA05-82C5-1E2A-0482-91BCD6D5E139}"/>
              </a:ext>
            </a:extLst>
          </p:cNvPr>
          <p:cNvSpPr/>
          <p:nvPr userDrawn="1"/>
        </p:nvSpPr>
        <p:spPr>
          <a:xfrm>
            <a:off x="0" y="1"/>
            <a:ext cx="12192000" cy="6146276"/>
          </a:xfrm>
          <a:prstGeom prst="rect">
            <a:avLst/>
          </a:prstGeom>
          <a:solidFill>
            <a:srgbClr val="FFFFFF"/>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900" b="0" i="0" u="none" strike="noStrike" kern="0" cap="none" spc="0" normalizeH="0" baseline="0" noProof="0">
              <a:ln>
                <a:noFill/>
              </a:ln>
              <a:effectLst/>
              <a:uLnTx/>
              <a:uFillTx/>
              <a:latin typeface="Verdana"/>
              <a:ea typeface="+mn-ea"/>
              <a:cs typeface="+mn-cs"/>
            </a:endParaRPr>
          </a:p>
        </p:txBody>
      </p:sp>
    </p:spTree>
    <p:extLst>
      <p:ext uri="{BB962C8B-B14F-4D97-AF65-F5344CB8AC3E}">
        <p14:creationId xmlns:p14="http://schemas.microsoft.com/office/powerpoint/2010/main" val="28625102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Editable Colour 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F62B9E-73E4-A878-798C-CBC75FE3165E}"/>
              </a:ext>
            </a:extLst>
          </p:cNvPr>
          <p:cNvGraphicFramePr>
            <a:graphicFrameLocks noChangeAspect="1"/>
          </p:cNvGraphicFramePr>
          <p:nvPr userDrawn="1">
            <p:custDataLst>
              <p:tags r:id="rId1"/>
            </p:custDataLst>
            <p:extLst>
              <p:ext uri="{D42A27DB-BD31-4B8C-83A1-F6EECF244321}">
                <p14:modId xmlns:p14="http://schemas.microsoft.com/office/powerpoint/2010/main" val="1032913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8" name="think-cell data - do not delete" hidden="1">
                        <a:extLst>
                          <a:ext uri="{FF2B5EF4-FFF2-40B4-BE49-F238E27FC236}">
                            <a16:creationId xmlns:a16="http://schemas.microsoft.com/office/drawing/2014/main" id="{B2F62B9E-73E4-A878-798C-CBC75FE31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6B8659-2871-55A1-7336-4B958D750F65}"/>
              </a:ext>
            </a:extLst>
          </p:cNvPr>
          <p:cNvSpPr/>
          <p:nvPr userDrawn="1"/>
        </p:nvSpPr>
        <p:spPr>
          <a:xfrm>
            <a:off x="0" y="0"/>
            <a:ext cx="12189999" cy="6084162"/>
          </a:xfrm>
          <a:prstGeom prst="rect">
            <a:avLst/>
          </a:prstGeom>
          <a:solidFill>
            <a:schemeClr val="tx2"/>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rtl="0">
              <a:spcAft>
                <a:spcPts val="300"/>
              </a:spcAft>
            </a:pPr>
            <a:endParaRPr lang="en-GB" sz="1400" b="1" noProof="0">
              <a:solidFill>
                <a:srgbClr val="FFFFFF"/>
              </a:solidFill>
              <a:latin typeface="Verdana"/>
            </a:endParaRPr>
          </a:p>
        </p:txBody>
      </p:sp>
      <p:pic>
        <p:nvPicPr>
          <p:cNvPr id="7" name="Picture 6">
            <a:extLst>
              <a:ext uri="{FF2B5EF4-FFF2-40B4-BE49-F238E27FC236}">
                <a16:creationId xmlns:a16="http://schemas.microsoft.com/office/drawing/2014/main" id="{7760EE55-8E6D-C4C6-D75C-D6EB71D8DDAC}"/>
              </a:ext>
            </a:extLst>
          </p:cNvPr>
          <p:cNvPicPr>
            <a:picLocks noChangeAspect="1"/>
          </p:cNvPicPr>
          <p:nvPr userDrawn="1"/>
        </p:nvPicPr>
        <p:blipFill>
          <a:blip r:embed="rId6">
            <a:alphaModFix amt="58000"/>
          </a:blip>
          <a:srcRect l="46207" b="11283"/>
          <a:stretch/>
        </p:blipFill>
        <p:spPr>
          <a:xfrm>
            <a:off x="-317313" y="0"/>
            <a:ext cx="6413313" cy="6095999"/>
          </a:xfrm>
          <a:prstGeom prst="rect">
            <a:avLst/>
          </a:prstGeom>
        </p:spPr>
      </p:pic>
      <p:pic>
        <p:nvPicPr>
          <p:cNvPr id="9" name="Picture 8">
            <a:extLst>
              <a:ext uri="{FF2B5EF4-FFF2-40B4-BE49-F238E27FC236}">
                <a16:creationId xmlns:a16="http://schemas.microsoft.com/office/drawing/2014/main" id="{E359E0A6-0CBB-59A6-4A9F-95245214E1BE}"/>
              </a:ext>
            </a:extLst>
          </p:cNvPr>
          <p:cNvPicPr>
            <a:picLocks noChangeAspect="1"/>
          </p:cNvPicPr>
          <p:nvPr userDrawn="1"/>
        </p:nvPicPr>
        <p:blipFill>
          <a:blip r:embed="rId6">
            <a:alphaModFix amt="58000"/>
          </a:blip>
          <a:srcRect l="46207" b="11283"/>
          <a:stretch/>
        </p:blipFill>
        <p:spPr>
          <a:xfrm>
            <a:off x="5631543" y="0"/>
            <a:ext cx="6558456" cy="6095999"/>
          </a:xfrm>
          <a:prstGeom prst="rect">
            <a:avLst/>
          </a:prstGeom>
        </p:spPr>
      </p:pic>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chemeClr val="bg1"/>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Editable colour in master divider slide</a:t>
            </a:r>
          </a:p>
        </p:txBody>
      </p:sp>
    </p:spTree>
    <p:extLst>
      <p:ext uri="{BB962C8B-B14F-4D97-AF65-F5344CB8AC3E}">
        <p14:creationId xmlns:p14="http://schemas.microsoft.com/office/powerpoint/2010/main" val="4513901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hit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Text Placeholder 19">
            <a:extLst>
              <a:ext uri="{FF2B5EF4-FFF2-40B4-BE49-F238E27FC236}">
                <a16:creationId xmlns:a16="http://schemas.microsoft.com/office/drawing/2014/main" id="{4B80CFD0-1A84-CAB9-B6F2-902A3A1F105D}"/>
              </a:ext>
            </a:extLst>
          </p:cNvPr>
          <p:cNvSpPr>
            <a:spLocks noGrp="1"/>
          </p:cNvSpPr>
          <p:nvPr>
            <p:ph type="body" sz="quarter" idx="11" hasCustomPrompt="1"/>
          </p:nvPr>
        </p:nvSpPr>
        <p:spPr>
          <a:xfrm>
            <a:off x="596640" y="1222839"/>
            <a:ext cx="10996721" cy="852703"/>
          </a:xfrm>
          <a:prstGeom prst="rect">
            <a:avLst/>
          </a:prstGeom>
        </p:spPr>
        <p:txBody>
          <a:bodyPr lIns="0" tIns="0" rIns="0" bIns="0"/>
          <a:lstStyle>
            <a:lvl1pPr marL="0" indent="0" algn="l">
              <a:buNone/>
              <a:defRPr sz="1867" b="0" i="0" cap="none" spc="120" baseline="0">
                <a:solidFill>
                  <a:schemeClr val="tx2"/>
                </a:solidFill>
                <a:latin typeface="Verdana"/>
                <a:cs typeface="Verdana"/>
              </a:defRPr>
            </a:lvl1pPr>
          </a:lstStyle>
          <a:p>
            <a:pPr lvl="0"/>
            <a:r>
              <a:rPr lang="en-GB" noProof="0"/>
              <a:t>Click to add subtitle</a:t>
            </a:r>
          </a:p>
        </p:txBody>
      </p:sp>
      <p:sp>
        <p:nvSpPr>
          <p:cNvPr id="6" name="Title Placeholder 1">
            <a:extLst>
              <a:ext uri="{FF2B5EF4-FFF2-40B4-BE49-F238E27FC236}">
                <a16:creationId xmlns:a16="http://schemas.microsoft.com/office/drawing/2014/main" id="{EA6700EC-4AF9-04BA-49B9-333359DB00A5}"/>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tx2"/>
                </a:solidFill>
              </a:defRPr>
            </a:lvl1pPr>
          </a:lstStyle>
          <a:p>
            <a:pPr lvl="0"/>
            <a:r>
              <a:rPr lang="en-GB" noProof="0"/>
              <a:t>Title goes here and can be two lines</a:t>
            </a:r>
          </a:p>
        </p:txBody>
      </p:sp>
    </p:spTree>
    <p:extLst>
      <p:ext uri="{BB962C8B-B14F-4D97-AF65-F5344CB8AC3E}">
        <p14:creationId xmlns:p14="http://schemas.microsoft.com/office/powerpoint/2010/main" val="18577481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Editable Colour 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C63BDB-7F17-F2B7-7A40-658F694DABA7}"/>
              </a:ext>
            </a:extLst>
          </p:cNvPr>
          <p:cNvGraphicFramePr>
            <a:graphicFrameLocks noChangeAspect="1"/>
          </p:cNvGraphicFramePr>
          <p:nvPr userDrawn="1">
            <p:custDataLst>
              <p:tags r:id="rId1"/>
            </p:custDataLst>
            <p:extLst>
              <p:ext uri="{D42A27DB-BD31-4B8C-83A1-F6EECF244321}">
                <p14:modId xmlns:p14="http://schemas.microsoft.com/office/powerpoint/2010/main" val="128598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8" name="think-cell data - do not delete" hidden="1">
                        <a:extLst>
                          <a:ext uri="{FF2B5EF4-FFF2-40B4-BE49-F238E27FC236}">
                            <a16:creationId xmlns:a16="http://schemas.microsoft.com/office/drawing/2014/main" id="{85C63BDB-7F17-F2B7-7A40-658F694DAB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A3EA452-E4C8-02D1-4C99-87124FC67D1D}"/>
              </a:ext>
            </a:extLst>
          </p:cNvPr>
          <p:cNvSpPr/>
          <p:nvPr userDrawn="1"/>
        </p:nvSpPr>
        <p:spPr>
          <a:xfrm>
            <a:off x="0" y="0"/>
            <a:ext cx="12192000" cy="6084163"/>
          </a:xfrm>
          <a:prstGeom prst="rect">
            <a:avLst/>
          </a:prstGeom>
          <a:solidFill>
            <a:schemeClr val="accent1"/>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9" name="Picture 8">
            <a:extLst>
              <a:ext uri="{FF2B5EF4-FFF2-40B4-BE49-F238E27FC236}">
                <a16:creationId xmlns:a16="http://schemas.microsoft.com/office/drawing/2014/main" id="{E359E0A6-0CBB-59A6-4A9F-95245214E1BE}"/>
              </a:ext>
            </a:extLst>
          </p:cNvPr>
          <p:cNvPicPr>
            <a:picLocks noChangeAspect="1"/>
          </p:cNvPicPr>
          <p:nvPr userDrawn="1"/>
        </p:nvPicPr>
        <p:blipFill>
          <a:blip r:embed="rId6">
            <a:alphaModFix amt="58000"/>
          </a:blip>
          <a:srcRect l="46207" b="11283"/>
          <a:stretch/>
        </p:blipFill>
        <p:spPr>
          <a:xfrm>
            <a:off x="5631543" y="0"/>
            <a:ext cx="6558456" cy="6084163"/>
          </a:xfrm>
          <a:prstGeom prst="rect">
            <a:avLst/>
          </a:prstGeom>
        </p:spPr>
      </p:pic>
      <p:sp>
        <p:nvSpPr>
          <p:cNvPr id="10" name="Text Placeholder 19">
            <a:extLst>
              <a:ext uri="{FF2B5EF4-FFF2-40B4-BE49-F238E27FC236}">
                <a16:creationId xmlns:a16="http://schemas.microsoft.com/office/drawing/2014/main" id="{8EDBB0A9-BB88-4E90-A2FF-C33FE8E13448}"/>
              </a:ext>
            </a:extLst>
          </p:cNvPr>
          <p:cNvSpPr>
            <a:spLocks noGrp="1"/>
          </p:cNvSpPr>
          <p:nvPr>
            <p:ph type="body" sz="quarter" idx="11" hasCustomPrompt="1"/>
          </p:nvPr>
        </p:nvSpPr>
        <p:spPr>
          <a:xfrm>
            <a:off x="1066800" y="2118189"/>
            <a:ext cx="9629775"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11" name="Title Placeholder 1">
            <a:extLst>
              <a:ext uri="{FF2B5EF4-FFF2-40B4-BE49-F238E27FC236}">
                <a16:creationId xmlns:a16="http://schemas.microsoft.com/office/drawing/2014/main" id="{A0E132B0-7857-F6B4-D741-F126CDA110FA}"/>
              </a:ext>
            </a:extLst>
          </p:cNvPr>
          <p:cNvSpPr>
            <a:spLocks noGrp="1"/>
          </p:cNvSpPr>
          <p:nvPr>
            <p:ph type="title" hasCustomPrompt="1"/>
          </p:nvPr>
        </p:nvSpPr>
        <p:spPr bwMode="auto">
          <a:xfrm>
            <a:off x="1066800" y="1091357"/>
            <a:ext cx="9629775"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
        <p:nvSpPr>
          <p:cNvPr id="12" name="Rectangle 11">
            <a:extLst>
              <a:ext uri="{FF2B5EF4-FFF2-40B4-BE49-F238E27FC236}">
                <a16:creationId xmlns:a16="http://schemas.microsoft.com/office/drawing/2014/main" id="{1F0A7466-C25C-9D70-FBE1-F8A4F9F3F709}"/>
              </a:ext>
            </a:extLst>
          </p:cNvPr>
          <p:cNvSpPr/>
          <p:nvPr userDrawn="1"/>
        </p:nvSpPr>
        <p:spPr>
          <a:xfrm>
            <a:off x="1" y="0"/>
            <a:ext cx="596640" cy="6092890"/>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6ED6DABE-C4FA-CA7A-1D8A-65FA140594D2}"/>
              </a:ext>
            </a:extLst>
          </p:cNvPr>
          <p:cNvSpPr/>
          <p:nvPr userDrawn="1"/>
        </p:nvSpPr>
        <p:spPr>
          <a:xfrm>
            <a:off x="11595360" y="0"/>
            <a:ext cx="596640" cy="6092890"/>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2FC39585-2C5A-BB9A-0F7F-75D17C9DA13A}"/>
              </a:ext>
            </a:extLst>
          </p:cNvPr>
          <p:cNvSpPr/>
          <p:nvPr userDrawn="1"/>
        </p:nvSpPr>
        <p:spPr>
          <a:xfrm rot="5400000">
            <a:off x="5796680" y="-5200041"/>
            <a:ext cx="596640" cy="10996721"/>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Tree>
    <p:extLst>
      <p:ext uri="{BB962C8B-B14F-4D97-AF65-F5344CB8AC3E}">
        <p14:creationId xmlns:p14="http://schemas.microsoft.com/office/powerpoint/2010/main" val="31337106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Picture Placeholder 4"/>
          <p:cNvSpPr>
            <a:spLocks noGrp="1"/>
          </p:cNvSpPr>
          <p:nvPr>
            <p:ph type="pic" sz="quarter" idx="14" hasCustomPrompt="1"/>
          </p:nvPr>
        </p:nvSpPr>
        <p:spPr>
          <a:xfrm>
            <a:off x="596900"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Rectangle 3"/>
          <p:cNvSpPr/>
          <p:nvPr userDrawn="1"/>
        </p:nvSpPr>
        <p:spPr>
          <a:xfrm>
            <a:off x="596901"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a:solidFill>
                <a:schemeClr val="bg1"/>
              </a:solidFill>
            </a:endParaRPr>
          </a:p>
          <a:p>
            <a:pPr algn="l">
              <a:lnSpc>
                <a:spcPct val="110000"/>
              </a:lnSpc>
            </a:pPr>
            <a:endParaRPr lang="en-GB" sz="1200" b="0" i="1" noProof="0">
              <a:solidFill>
                <a:schemeClr val="bg1"/>
              </a:solidFill>
            </a:endParaRPr>
          </a:p>
        </p:txBody>
      </p:sp>
      <p:sp>
        <p:nvSpPr>
          <p:cNvPr id="13"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a:solidFill>
                  <a:schemeClr val="bg1"/>
                </a:solidFill>
              </a:rPr>
              <a:t>Caption or</a:t>
            </a:r>
            <a:r>
              <a:rPr lang="en-GB" sz="1467" b="0" i="1" baseline="0" noProof="0">
                <a:solidFill>
                  <a:schemeClr val="bg1"/>
                </a:solidFill>
              </a:rPr>
              <a:t> credit for a photo could be put in this space. </a:t>
            </a:r>
            <a:r>
              <a:rPr lang="en-GB" sz="1467" b="0" i="1" noProof="0">
                <a:solidFill>
                  <a:schemeClr val="bg1"/>
                </a:solidFill>
              </a:rPr>
              <a:t>You may adjust the height of this box</a:t>
            </a:r>
            <a:r>
              <a:rPr lang="en-GB" sz="1467" b="0" i="1" baseline="0" noProof="0">
                <a:solidFill>
                  <a:schemeClr val="bg1"/>
                </a:solidFill>
              </a:rPr>
              <a:t> to accommodate more or less text. Suggested number of lines of text is no less than two and no more than four.</a:t>
            </a:r>
            <a:endParaRPr lang="en-GB" sz="1467" b="0" i="1" noProof="0">
              <a:solidFill>
                <a:schemeClr val="bg1"/>
              </a:solidFill>
            </a:endParaRPr>
          </a:p>
        </p:txBody>
      </p:sp>
      <p:sp>
        <p:nvSpPr>
          <p:cNvPr id="3" name="Title Placeholder 1">
            <a:extLst>
              <a:ext uri="{FF2B5EF4-FFF2-40B4-BE49-F238E27FC236}">
                <a16:creationId xmlns:a16="http://schemas.microsoft.com/office/drawing/2014/main" id="{3FAD04EC-FFA1-F65D-4AE7-87DAAE63E8C0}"/>
              </a:ext>
            </a:extLst>
          </p:cNvPr>
          <p:cNvSpPr>
            <a:spLocks noGrp="1"/>
          </p:cNvSpPr>
          <p:nvPr>
            <p:ph type="title" hasCustomPrompt="1"/>
          </p:nvPr>
        </p:nvSpPr>
        <p:spPr bwMode="auto">
          <a:xfrm>
            <a:off x="596639" y="196007"/>
            <a:ext cx="10991923" cy="906196"/>
          </a:xfrm>
          <a:prstGeom prst="rect">
            <a:avLst/>
          </a:prstGeom>
          <a:noFill/>
          <a:ln>
            <a:noFill/>
          </a:ln>
        </p:spPr>
        <p:txBody>
          <a:bodyPr vert="horz" wrap="square" lIns="0" tIns="45716" rIns="91431" bIns="45716" numCol="1" anchor="ctr" anchorCtr="0" compatLnSpc="1">
            <a:prstTxWarp prst="textNoShape">
              <a:avLst/>
            </a:prstTxWarp>
          </a:bodyPr>
          <a:lstStyle>
            <a:lvl1pPr>
              <a:defRPr sz="3200"/>
            </a:lvl1pPr>
          </a:lstStyle>
          <a:p>
            <a:pPr lvl="0"/>
            <a:r>
              <a:rPr lang="en-GB" noProof="0"/>
              <a:t>Title goes here and can be two lines</a:t>
            </a:r>
          </a:p>
        </p:txBody>
      </p:sp>
      <p:sp>
        <p:nvSpPr>
          <p:cNvPr id="7" name="Text Placeholder 12">
            <a:extLst>
              <a:ext uri="{FF2B5EF4-FFF2-40B4-BE49-F238E27FC236}">
                <a16:creationId xmlns:a16="http://schemas.microsoft.com/office/drawing/2014/main" id="{8345CDC8-4D32-194E-D61E-861B1DD1D49F}"/>
              </a:ext>
            </a:extLst>
          </p:cNvPr>
          <p:cNvSpPr>
            <a:spLocks noGrp="1"/>
          </p:cNvSpPr>
          <p:nvPr>
            <p:ph type="body" sz="quarter" idx="20" hasCustomPrompt="1"/>
          </p:nvPr>
        </p:nvSpPr>
        <p:spPr>
          <a:xfrm>
            <a:off x="6168484" y="2419234"/>
            <a:ext cx="5412941" cy="3292260"/>
          </a:xfrm>
          <a:prstGeom prst="rect">
            <a:avLst/>
          </a:prstGeom>
        </p:spPr>
        <p:txBody>
          <a:bodyPr lIns="0" tIns="0" rIns="0" bIns="0">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5">
            <a:extLst>
              <a:ext uri="{FF2B5EF4-FFF2-40B4-BE49-F238E27FC236}">
                <a16:creationId xmlns:a16="http://schemas.microsoft.com/office/drawing/2014/main" id="{FA13186E-3A14-1188-0195-D96B726EC48D}"/>
              </a:ext>
            </a:extLst>
          </p:cNvPr>
          <p:cNvSpPr>
            <a:spLocks noGrp="1"/>
          </p:cNvSpPr>
          <p:nvPr>
            <p:ph type="body" sz="quarter" idx="19" hasCustomPrompt="1"/>
          </p:nvPr>
        </p:nvSpPr>
        <p:spPr>
          <a:xfrm>
            <a:off x="6166679" y="1643070"/>
            <a:ext cx="5418383" cy="657509"/>
          </a:xfrm>
          <a:prstGeom prst="rect">
            <a:avLst/>
          </a:prstGeom>
        </p:spPr>
        <p:txBody>
          <a:bodyPr lIns="0" tIns="0" rIns="0" bIns="0"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7883840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Editable Colour 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C63BDB-7F17-F2B7-7A40-658F694DABA7}"/>
              </a:ext>
            </a:extLst>
          </p:cNvPr>
          <p:cNvGraphicFramePr>
            <a:graphicFrameLocks noChangeAspect="1"/>
          </p:cNvGraphicFramePr>
          <p:nvPr userDrawn="1">
            <p:custDataLst>
              <p:tags r:id="rId1"/>
            </p:custDataLst>
            <p:extLst>
              <p:ext uri="{D42A27DB-BD31-4B8C-83A1-F6EECF244321}">
                <p14:modId xmlns:p14="http://schemas.microsoft.com/office/powerpoint/2010/main" val="128598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8" name="think-cell data - do not delete" hidden="1">
                        <a:extLst>
                          <a:ext uri="{FF2B5EF4-FFF2-40B4-BE49-F238E27FC236}">
                            <a16:creationId xmlns:a16="http://schemas.microsoft.com/office/drawing/2014/main" id="{85C63BDB-7F17-F2B7-7A40-658F694DAB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A3EA452-E4C8-02D1-4C99-87124FC67D1D}"/>
              </a:ext>
            </a:extLst>
          </p:cNvPr>
          <p:cNvSpPr/>
          <p:nvPr userDrawn="1"/>
        </p:nvSpPr>
        <p:spPr>
          <a:xfrm>
            <a:off x="0" y="0"/>
            <a:ext cx="12192000" cy="6084163"/>
          </a:xfrm>
          <a:prstGeom prst="rect">
            <a:avLst/>
          </a:prstGeom>
          <a:solidFill>
            <a:schemeClr val="tx2"/>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9" name="Picture 8">
            <a:extLst>
              <a:ext uri="{FF2B5EF4-FFF2-40B4-BE49-F238E27FC236}">
                <a16:creationId xmlns:a16="http://schemas.microsoft.com/office/drawing/2014/main" id="{E359E0A6-0CBB-59A6-4A9F-95245214E1BE}"/>
              </a:ext>
            </a:extLst>
          </p:cNvPr>
          <p:cNvPicPr>
            <a:picLocks noChangeAspect="1"/>
          </p:cNvPicPr>
          <p:nvPr userDrawn="1"/>
        </p:nvPicPr>
        <p:blipFill>
          <a:blip r:embed="rId6">
            <a:alphaModFix amt="58000"/>
          </a:blip>
          <a:srcRect l="46207" b="11283"/>
          <a:stretch/>
        </p:blipFill>
        <p:spPr>
          <a:xfrm>
            <a:off x="5631543" y="0"/>
            <a:ext cx="6558456" cy="6084163"/>
          </a:xfrm>
          <a:prstGeom prst="rect">
            <a:avLst/>
          </a:prstGeom>
        </p:spPr>
      </p:pic>
      <p:sp>
        <p:nvSpPr>
          <p:cNvPr id="10" name="Text Placeholder 19">
            <a:extLst>
              <a:ext uri="{FF2B5EF4-FFF2-40B4-BE49-F238E27FC236}">
                <a16:creationId xmlns:a16="http://schemas.microsoft.com/office/drawing/2014/main" id="{8EDBB0A9-BB88-4E90-A2FF-C33FE8E13448}"/>
              </a:ext>
            </a:extLst>
          </p:cNvPr>
          <p:cNvSpPr>
            <a:spLocks noGrp="1"/>
          </p:cNvSpPr>
          <p:nvPr>
            <p:ph type="body" sz="quarter" idx="11" hasCustomPrompt="1"/>
          </p:nvPr>
        </p:nvSpPr>
        <p:spPr>
          <a:xfrm>
            <a:off x="1066800" y="2118189"/>
            <a:ext cx="9629775"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11" name="Title Placeholder 1">
            <a:extLst>
              <a:ext uri="{FF2B5EF4-FFF2-40B4-BE49-F238E27FC236}">
                <a16:creationId xmlns:a16="http://schemas.microsoft.com/office/drawing/2014/main" id="{A0E132B0-7857-F6B4-D741-F126CDA110FA}"/>
              </a:ext>
            </a:extLst>
          </p:cNvPr>
          <p:cNvSpPr>
            <a:spLocks noGrp="1"/>
          </p:cNvSpPr>
          <p:nvPr>
            <p:ph type="title" hasCustomPrompt="1"/>
          </p:nvPr>
        </p:nvSpPr>
        <p:spPr bwMode="auto">
          <a:xfrm>
            <a:off x="1066800" y="1091357"/>
            <a:ext cx="9629775"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
        <p:nvSpPr>
          <p:cNvPr id="12" name="Rectangle 11">
            <a:extLst>
              <a:ext uri="{FF2B5EF4-FFF2-40B4-BE49-F238E27FC236}">
                <a16:creationId xmlns:a16="http://schemas.microsoft.com/office/drawing/2014/main" id="{1F0A7466-C25C-9D70-FBE1-F8A4F9F3F709}"/>
              </a:ext>
            </a:extLst>
          </p:cNvPr>
          <p:cNvSpPr/>
          <p:nvPr userDrawn="1"/>
        </p:nvSpPr>
        <p:spPr>
          <a:xfrm>
            <a:off x="1" y="0"/>
            <a:ext cx="596640" cy="6092890"/>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6ED6DABE-C4FA-CA7A-1D8A-65FA140594D2}"/>
              </a:ext>
            </a:extLst>
          </p:cNvPr>
          <p:cNvSpPr/>
          <p:nvPr userDrawn="1"/>
        </p:nvSpPr>
        <p:spPr>
          <a:xfrm>
            <a:off x="11595360" y="0"/>
            <a:ext cx="596640" cy="6092890"/>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2FC39585-2C5A-BB9A-0F7F-75D17C9DA13A}"/>
              </a:ext>
            </a:extLst>
          </p:cNvPr>
          <p:cNvSpPr/>
          <p:nvPr userDrawn="1"/>
        </p:nvSpPr>
        <p:spPr>
          <a:xfrm rot="5400000">
            <a:off x="5796680" y="-5200041"/>
            <a:ext cx="596640" cy="10996721"/>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Tree>
    <p:extLst>
      <p:ext uri="{BB962C8B-B14F-4D97-AF65-F5344CB8AC3E}">
        <p14:creationId xmlns:p14="http://schemas.microsoft.com/office/powerpoint/2010/main" val="36982814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Editable Colour 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C63BDB-7F17-F2B7-7A40-658F694DABA7}"/>
              </a:ext>
            </a:extLst>
          </p:cNvPr>
          <p:cNvGraphicFramePr>
            <a:graphicFrameLocks noChangeAspect="1"/>
          </p:cNvGraphicFramePr>
          <p:nvPr userDrawn="1">
            <p:custDataLst>
              <p:tags r:id="rId1"/>
            </p:custDataLst>
            <p:extLst>
              <p:ext uri="{D42A27DB-BD31-4B8C-83A1-F6EECF244321}">
                <p14:modId xmlns:p14="http://schemas.microsoft.com/office/powerpoint/2010/main" val="128598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8" name="think-cell data - do not delete" hidden="1">
                        <a:extLst>
                          <a:ext uri="{FF2B5EF4-FFF2-40B4-BE49-F238E27FC236}">
                            <a16:creationId xmlns:a16="http://schemas.microsoft.com/office/drawing/2014/main" id="{85C63BDB-7F17-F2B7-7A40-658F694DAB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A3EA452-E4C8-02D1-4C99-87124FC67D1D}"/>
              </a:ext>
            </a:extLst>
          </p:cNvPr>
          <p:cNvSpPr/>
          <p:nvPr userDrawn="1"/>
        </p:nvSpPr>
        <p:spPr>
          <a:xfrm>
            <a:off x="0" y="0"/>
            <a:ext cx="12192000" cy="6084163"/>
          </a:xfrm>
          <a:prstGeom prst="rect">
            <a:avLst/>
          </a:prstGeom>
          <a:solidFill>
            <a:srgbClr val="888B8D"/>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9" name="Picture 8">
            <a:extLst>
              <a:ext uri="{FF2B5EF4-FFF2-40B4-BE49-F238E27FC236}">
                <a16:creationId xmlns:a16="http://schemas.microsoft.com/office/drawing/2014/main" id="{E359E0A6-0CBB-59A6-4A9F-95245214E1BE}"/>
              </a:ext>
            </a:extLst>
          </p:cNvPr>
          <p:cNvPicPr>
            <a:picLocks noChangeAspect="1"/>
          </p:cNvPicPr>
          <p:nvPr userDrawn="1"/>
        </p:nvPicPr>
        <p:blipFill>
          <a:blip r:embed="rId6">
            <a:alphaModFix amt="58000"/>
          </a:blip>
          <a:srcRect l="46207" b="11283"/>
          <a:stretch/>
        </p:blipFill>
        <p:spPr>
          <a:xfrm>
            <a:off x="5631543" y="0"/>
            <a:ext cx="6558456" cy="6084163"/>
          </a:xfrm>
          <a:prstGeom prst="rect">
            <a:avLst/>
          </a:prstGeom>
        </p:spPr>
      </p:pic>
      <p:sp>
        <p:nvSpPr>
          <p:cNvPr id="10" name="Text Placeholder 19">
            <a:extLst>
              <a:ext uri="{FF2B5EF4-FFF2-40B4-BE49-F238E27FC236}">
                <a16:creationId xmlns:a16="http://schemas.microsoft.com/office/drawing/2014/main" id="{8EDBB0A9-BB88-4E90-A2FF-C33FE8E13448}"/>
              </a:ext>
            </a:extLst>
          </p:cNvPr>
          <p:cNvSpPr>
            <a:spLocks noGrp="1"/>
          </p:cNvSpPr>
          <p:nvPr>
            <p:ph type="body" sz="quarter" idx="11" hasCustomPrompt="1"/>
          </p:nvPr>
        </p:nvSpPr>
        <p:spPr>
          <a:xfrm>
            <a:off x="1066800" y="2118189"/>
            <a:ext cx="9629775" cy="852703"/>
          </a:xfrm>
          <a:prstGeom prst="rect">
            <a:avLst/>
          </a:prstGeom>
        </p:spPr>
        <p:txBody>
          <a:bodyPr lIns="0" tIns="0" rIns="0" bIns="0"/>
          <a:lstStyle>
            <a:lvl1pPr marL="0" indent="0" algn="l">
              <a:buNone/>
              <a:defRPr sz="1867" b="0" i="0" cap="none" spc="120" baseline="0">
                <a:solidFill>
                  <a:srgbClr val="FFFFFF"/>
                </a:solidFill>
                <a:latin typeface="Verdana"/>
                <a:cs typeface="Verdana"/>
              </a:defRPr>
            </a:lvl1pPr>
          </a:lstStyle>
          <a:p>
            <a:pPr lvl="0"/>
            <a:r>
              <a:rPr lang="en-GB" noProof="0"/>
              <a:t>Click to add subtitle</a:t>
            </a:r>
          </a:p>
        </p:txBody>
      </p:sp>
      <p:sp>
        <p:nvSpPr>
          <p:cNvPr id="11" name="Title Placeholder 1">
            <a:extLst>
              <a:ext uri="{FF2B5EF4-FFF2-40B4-BE49-F238E27FC236}">
                <a16:creationId xmlns:a16="http://schemas.microsoft.com/office/drawing/2014/main" id="{A0E132B0-7857-F6B4-D741-F126CDA110FA}"/>
              </a:ext>
            </a:extLst>
          </p:cNvPr>
          <p:cNvSpPr>
            <a:spLocks noGrp="1"/>
          </p:cNvSpPr>
          <p:nvPr>
            <p:ph type="title" hasCustomPrompt="1"/>
          </p:nvPr>
        </p:nvSpPr>
        <p:spPr bwMode="auto">
          <a:xfrm>
            <a:off x="1066800" y="1091357"/>
            <a:ext cx="9629775"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3200">
                <a:solidFill>
                  <a:schemeClr val="bg1"/>
                </a:solidFill>
              </a:defRPr>
            </a:lvl1pPr>
          </a:lstStyle>
          <a:p>
            <a:pPr lvl="0"/>
            <a:r>
              <a:rPr lang="en-GB" noProof="0"/>
              <a:t>Title goes here and can be two lines</a:t>
            </a:r>
          </a:p>
        </p:txBody>
      </p:sp>
      <p:sp>
        <p:nvSpPr>
          <p:cNvPr id="12" name="Rectangle 11">
            <a:extLst>
              <a:ext uri="{FF2B5EF4-FFF2-40B4-BE49-F238E27FC236}">
                <a16:creationId xmlns:a16="http://schemas.microsoft.com/office/drawing/2014/main" id="{1F0A7466-C25C-9D70-FBE1-F8A4F9F3F709}"/>
              </a:ext>
            </a:extLst>
          </p:cNvPr>
          <p:cNvSpPr/>
          <p:nvPr userDrawn="1"/>
        </p:nvSpPr>
        <p:spPr>
          <a:xfrm>
            <a:off x="1" y="0"/>
            <a:ext cx="596640" cy="6092890"/>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6ED6DABE-C4FA-CA7A-1D8A-65FA140594D2}"/>
              </a:ext>
            </a:extLst>
          </p:cNvPr>
          <p:cNvSpPr/>
          <p:nvPr userDrawn="1"/>
        </p:nvSpPr>
        <p:spPr>
          <a:xfrm>
            <a:off x="11595360" y="0"/>
            <a:ext cx="596640" cy="6092890"/>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2FC39585-2C5A-BB9A-0F7F-75D17C9DA13A}"/>
              </a:ext>
            </a:extLst>
          </p:cNvPr>
          <p:cNvSpPr/>
          <p:nvPr userDrawn="1"/>
        </p:nvSpPr>
        <p:spPr>
          <a:xfrm rot="5400000">
            <a:off x="5796680" y="-5200041"/>
            <a:ext cx="596640" cy="10996721"/>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Tree>
    <p:extLst>
      <p:ext uri="{BB962C8B-B14F-4D97-AF65-F5344CB8AC3E}">
        <p14:creationId xmlns:p14="http://schemas.microsoft.com/office/powerpoint/2010/main" val="31069929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Blue 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309A8F-7D78-8515-5252-BE643369B2CC}"/>
              </a:ext>
            </a:extLst>
          </p:cNvPr>
          <p:cNvGraphicFramePr>
            <a:graphicFrameLocks noChangeAspect="1"/>
          </p:cNvGraphicFramePr>
          <p:nvPr userDrawn="1">
            <p:custDataLst>
              <p:tags r:id="rId1"/>
            </p:custDataLst>
            <p:extLst>
              <p:ext uri="{D42A27DB-BD31-4B8C-83A1-F6EECF244321}">
                <p14:modId xmlns:p14="http://schemas.microsoft.com/office/powerpoint/2010/main" val="114699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5" progId="TCLayout.ActiveDocument.1">
                  <p:embed/>
                </p:oleObj>
              </mc:Choice>
              <mc:Fallback>
                <p:oleObj name="think-cell Slide" r:id="rId4" imgW="606" imgH="605" progId="TCLayout.ActiveDocument.1">
                  <p:embed/>
                  <p:pic>
                    <p:nvPicPr>
                      <p:cNvPr id="4" name="think-cell data - do not delete" hidden="1">
                        <a:extLst>
                          <a:ext uri="{FF2B5EF4-FFF2-40B4-BE49-F238E27FC236}">
                            <a16:creationId xmlns:a16="http://schemas.microsoft.com/office/drawing/2014/main" id="{B9309A8F-7D78-8515-5252-BE643369B2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5" name="Title Placeholder 1">
            <a:extLst>
              <a:ext uri="{FF2B5EF4-FFF2-40B4-BE49-F238E27FC236}">
                <a16:creationId xmlns:a16="http://schemas.microsoft.com/office/drawing/2014/main" id="{0B4F1D30-58C0-2439-3C9F-B9620FD59320}"/>
              </a:ext>
            </a:extLst>
          </p:cNvPr>
          <p:cNvSpPr>
            <a:spLocks noGrp="1"/>
          </p:cNvSpPr>
          <p:nvPr>
            <p:ph type="title" hasCustomPrompt="1"/>
          </p:nvPr>
        </p:nvSpPr>
        <p:spPr bwMode="auto">
          <a:xfrm>
            <a:off x="596640" y="196007"/>
            <a:ext cx="10996721" cy="906196"/>
          </a:xfrm>
          <a:prstGeom prst="rect">
            <a:avLst/>
          </a:prstGeom>
          <a:noFill/>
          <a:ln>
            <a:noFill/>
          </a:ln>
        </p:spPr>
        <p:txBody>
          <a:bodyPr vert="horz" wrap="square" lIns="0" tIns="45716" rIns="91431" bIns="45716" numCol="1" anchor="ctr" anchorCtr="0" compatLnSpc="1">
            <a:prstTxWarp prst="textNoShape">
              <a:avLst/>
            </a:prstTxWarp>
          </a:bodyPr>
          <a:lstStyle>
            <a:lvl1pPr algn="l">
              <a:lnSpc>
                <a:spcPct val="90000"/>
              </a:lnSpc>
              <a:defRPr sz="2800">
                <a:solidFill>
                  <a:schemeClr val="bg1"/>
                </a:solidFill>
              </a:defRPr>
            </a:lvl1pPr>
          </a:lstStyle>
          <a:p>
            <a:pPr lvl="0"/>
            <a:r>
              <a:rPr lang="en-GB" noProof="0"/>
              <a:t>Title goes here and can be two lines</a:t>
            </a:r>
          </a:p>
        </p:txBody>
      </p:sp>
    </p:spTree>
    <p:extLst>
      <p:ext uri="{BB962C8B-B14F-4D97-AF65-F5344CB8AC3E}">
        <p14:creationId xmlns:p14="http://schemas.microsoft.com/office/powerpoint/2010/main" val="34824465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No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94885" y="3493084"/>
            <a:ext cx="7290036" cy="725311"/>
          </a:xfrm>
          <a:prstGeom prst="rect">
            <a:avLst/>
          </a:prstGeom>
        </p:spPr>
        <p:txBody>
          <a:bodyPr lIns="0" tIns="0" rIns="0" bIns="0" anchor="t" anchorCtr="0"/>
          <a:lstStyle>
            <a:lvl1pPr algn="l">
              <a:lnSpc>
                <a:spcPct val="100000"/>
              </a:lnSpc>
              <a:defRPr sz="2133"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594895" y="4341549"/>
            <a:ext cx="7290028" cy="205052"/>
          </a:xfrm>
          <a:prstGeom prst="rect">
            <a:avLst/>
          </a:prstGeom>
        </p:spPr>
        <p:txBody>
          <a:bodyPr lIns="0" tIns="0" rIns="0" bIns="0"/>
          <a:lstStyle>
            <a:lvl1pPr marL="0" indent="0" algn="l">
              <a:buNone/>
              <a:defRPr sz="1333" b="0" i="0" cap="none" spc="120" baseline="0">
                <a:solidFill>
                  <a:srgbClr val="FFFFFF"/>
                </a:solidFill>
                <a:latin typeface="Verdana"/>
                <a:cs typeface="Verdana"/>
              </a:defRPr>
            </a:lvl1pPr>
          </a:lstStyle>
          <a:p>
            <a:pPr lvl="0"/>
            <a:r>
              <a:rPr lang="en-GB" noProof="0"/>
              <a:t>Click to add subtitle</a:t>
            </a:r>
          </a:p>
        </p:txBody>
      </p:sp>
      <p:sp>
        <p:nvSpPr>
          <p:cNvPr id="14" name="Text Placeholder 19"/>
          <p:cNvSpPr>
            <a:spLocks noGrp="1"/>
          </p:cNvSpPr>
          <p:nvPr>
            <p:ph type="body" sz="quarter" idx="12" hasCustomPrompt="1"/>
          </p:nvPr>
        </p:nvSpPr>
        <p:spPr>
          <a:xfrm>
            <a:off x="609625" y="4863067"/>
            <a:ext cx="7277588" cy="205052"/>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609600" y="5113853"/>
            <a:ext cx="7277608"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37951208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dirty="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2724891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596961" y="1455212"/>
            <a:ext cx="10988943" cy="44161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8923953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498081"/>
          </a:xfrm>
          <a:prstGeom prst="rect">
            <a:avLst/>
          </a:prstGeom>
        </p:spPr>
        <p:txBody>
          <a:bodyPr>
            <a:noAutofit/>
          </a:bodyPr>
          <a:lstStyle>
            <a:lvl1pPr marL="0" indent="0">
              <a:lnSpc>
                <a:spcPct val="100000"/>
              </a:lnSpc>
              <a:buFontTx/>
              <a:buNone/>
              <a:defRPr sz="24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073412"/>
            <a:ext cx="10988943" cy="37979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5492419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867171"/>
          </a:xfrm>
          <a:prstGeom prst="rect">
            <a:avLst/>
          </a:prstGeom>
        </p:spPr>
        <p:txBody>
          <a:bodyPr>
            <a:noAutofit/>
          </a:bodyPr>
          <a:lstStyle>
            <a:lvl1pPr marL="0" indent="0">
              <a:lnSpc>
                <a:spcPct val="100000"/>
              </a:lnSpc>
              <a:buFontTx/>
              <a:buNone/>
              <a:defRPr sz="24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444691"/>
            <a:ext cx="10988943" cy="34266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2858968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1161163"/>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marL="0" marR="0" lvl="0" indent="0" algn="l" defTabSz="60952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743202"/>
            <a:ext cx="10988943" cy="312812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2900863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606661" y="1455429"/>
            <a:ext cx="5223516"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8" name="Text Placeholder 12"/>
          <p:cNvSpPr>
            <a:spLocks noGrp="1"/>
          </p:cNvSpPr>
          <p:nvPr>
            <p:ph type="body" sz="quarter" idx="17" hasCustomPrompt="1"/>
          </p:nvPr>
        </p:nvSpPr>
        <p:spPr>
          <a:xfrm>
            <a:off x="607626"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6362700" y="1455429"/>
            <a:ext cx="522436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2" name="Text Placeholder 12"/>
          <p:cNvSpPr>
            <a:spLocks noGrp="1"/>
          </p:cNvSpPr>
          <p:nvPr>
            <p:ph type="body" sz="quarter" idx="20" hasCustomPrompt="1"/>
          </p:nvPr>
        </p:nvSpPr>
        <p:spPr>
          <a:xfrm>
            <a:off x="6364513"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11263314" y="6346174"/>
            <a:ext cx="330047" cy="200260"/>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63757420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jp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image" Target="../media/image12.png"/><Relationship Id="rId21" Type="http://schemas.openxmlformats.org/officeDocument/2006/relationships/slideLayout" Target="../slideLayouts/slideLayout58.xml"/><Relationship Id="rId34" Type="http://schemas.openxmlformats.org/officeDocument/2006/relationships/theme" Target="../theme/theme2.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image" Target="../media/image2.emf"/><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oleObject" Target="../embeddings/oleObject1.bin"/><Relationship Id="rId40" Type="http://schemas.openxmlformats.org/officeDocument/2006/relationships/image" Target="../media/image3.jp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image" Target="../media/image1.jpeg"/><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tags" Target="../tags/tag9.xml"/><Relationship Id="rId8" Type="http://schemas.openxmlformats.org/officeDocument/2006/relationships/slideLayout" Target="../slideLayouts/slideLayout45.xml"/><Relationship Id="rId3"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3.jpg"/><Relationship Id="rId3" Type="http://schemas.openxmlformats.org/officeDocument/2006/relationships/slideLayout" Target="../slideLayouts/slideLayout73.xml"/><Relationship Id="rId7" Type="http://schemas.openxmlformats.org/officeDocument/2006/relationships/theme" Target="../theme/theme3.xml"/><Relationship Id="rId12" Type="http://schemas.openxmlformats.org/officeDocument/2006/relationships/image" Target="../media/image13.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12.png"/><Relationship Id="rId5" Type="http://schemas.openxmlformats.org/officeDocument/2006/relationships/slideLayout" Target="../slideLayouts/slideLayout75.xml"/><Relationship Id="rId10" Type="http://schemas.openxmlformats.org/officeDocument/2006/relationships/image" Target="../media/image2.emf"/><Relationship Id="rId4" Type="http://schemas.openxmlformats.org/officeDocument/2006/relationships/slideLayout" Target="../slideLayouts/slideLayout74.xml"/><Relationship Id="rId9" Type="http://schemas.openxmlformats.org/officeDocument/2006/relationships/oleObject" Target="../embeddings/oleObject7.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theme" Target="../theme/theme4.xml"/><Relationship Id="rId3" Type="http://schemas.openxmlformats.org/officeDocument/2006/relationships/slideLayout" Target="../slideLayouts/slideLayout79.xml"/><Relationship Id="rId21" Type="http://schemas.openxmlformats.org/officeDocument/2006/relationships/oleObject" Target="../embeddings/oleObject8.bin"/><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image" Target="../media/image20.png"/><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image" Target="../media/image12.png"/><Relationship Id="rId10" Type="http://schemas.openxmlformats.org/officeDocument/2006/relationships/slideLayout" Target="../slideLayouts/slideLayout86.xml"/><Relationship Id="rId19" Type="http://schemas.openxmlformats.org/officeDocument/2006/relationships/tags" Target="../tags/tag19.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image" Target="../media/image27.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image" Target="../media/image26.png"/><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17.xml"/><Relationship Id="rId7" Type="http://schemas.openxmlformats.org/officeDocument/2006/relationships/image" Target="../media/image29.png"/><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image" Target="../media/image28.png"/><Relationship Id="rId5" Type="http://schemas.openxmlformats.org/officeDocument/2006/relationships/theme" Target="../theme/theme6.xml"/><Relationship Id="rId4"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0">
            <a:lum/>
          </a:blip>
          <a:srcRect/>
          <a:stretch>
            <a:fillRect/>
          </a:stretch>
        </a:blip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5B4AE5D-492D-441F-6BC7-55F55F0F663E}"/>
              </a:ext>
            </a:extLst>
          </p:cNvPr>
          <p:cNvGraphicFramePr>
            <a:graphicFrameLocks noChangeAspect="1"/>
          </p:cNvGraphicFramePr>
          <p:nvPr userDrawn="1">
            <p:custDataLst>
              <p:tags r:id="rId39"/>
            </p:custDataLst>
            <p:extLst>
              <p:ext uri="{D42A27DB-BD31-4B8C-83A1-F6EECF244321}">
                <p14:modId xmlns:p14="http://schemas.microsoft.com/office/powerpoint/2010/main" val="20786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606" imgH="605" progId="TCLayout.ActiveDocument.1">
                  <p:embed/>
                </p:oleObj>
              </mc:Choice>
              <mc:Fallback>
                <p:oleObj name="think-cell Slide" r:id="rId41" imgW="606" imgH="605" progId="TCLayout.ActiveDocument.1">
                  <p:embed/>
                  <p:pic>
                    <p:nvPicPr>
                      <p:cNvPr id="2" name="think-cell data - do not delete" hidden="1">
                        <a:extLst>
                          <a:ext uri="{FF2B5EF4-FFF2-40B4-BE49-F238E27FC236}">
                            <a16:creationId xmlns:a16="http://schemas.microsoft.com/office/drawing/2014/main" id="{A5B4AE5D-492D-441F-6BC7-55F55F0F663E}"/>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5" name="Text Placeholder 19"/>
          <p:cNvSpPr txBox="1">
            <a:spLocks/>
          </p:cNvSpPr>
          <p:nvPr/>
        </p:nvSpPr>
        <p:spPr>
          <a:xfrm>
            <a:off x="6781801" y="6389313"/>
            <a:ext cx="3693808" cy="13472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800" noProof="0" dirty="0">
                <a:solidFill>
                  <a:srgbClr val="454545"/>
                </a:solidFill>
              </a:rPr>
              <a:t>© GS1 South Africa</a:t>
            </a:r>
            <a:r>
              <a:rPr lang="en-GB" sz="800" baseline="0" noProof="0" dirty="0">
                <a:solidFill>
                  <a:srgbClr val="454545"/>
                </a:solidFill>
              </a:rPr>
              <a:t> </a:t>
            </a:r>
            <a:r>
              <a:rPr lang="en-GB" sz="800" noProof="0" dirty="0">
                <a:solidFill>
                  <a:srgbClr val="454545"/>
                </a:solidFill>
              </a:rPr>
              <a:t>2025</a:t>
            </a:r>
          </a:p>
        </p:txBody>
      </p:sp>
      <p:sp>
        <p:nvSpPr>
          <p:cNvPr id="7"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pic>
        <p:nvPicPr>
          <p:cNvPr id="3" name="Picture 2" descr="A picture containing text, clipart&#10;&#10;Description automatically generated">
            <a:extLst>
              <a:ext uri="{FF2B5EF4-FFF2-40B4-BE49-F238E27FC236}">
                <a16:creationId xmlns:a16="http://schemas.microsoft.com/office/drawing/2014/main" id="{835BE820-7EB8-E64D-C165-FBF41FA5B16B}"/>
              </a:ext>
            </a:extLst>
          </p:cNvPr>
          <p:cNvPicPr>
            <a:picLocks noChangeAspect="1"/>
          </p:cNvPicPr>
          <p:nvPr userDrawn="1"/>
        </p:nvPicPr>
        <p:blipFill>
          <a:blip r:embed="rId43"/>
          <a:stretch>
            <a:fillRect/>
          </a:stretch>
        </p:blipFill>
        <p:spPr>
          <a:xfrm>
            <a:off x="598639" y="6165544"/>
            <a:ext cx="997788" cy="447537"/>
          </a:xfrm>
          <a:prstGeom prst="rect">
            <a:avLst/>
          </a:prstGeom>
        </p:spPr>
      </p:pic>
    </p:spTree>
    <p:extLst>
      <p:ext uri="{BB962C8B-B14F-4D97-AF65-F5344CB8AC3E}">
        <p14:creationId xmlns:p14="http://schemas.microsoft.com/office/powerpoint/2010/main" val="29235606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783" r:id="rId37"/>
  </p:sldLayoutIdLst>
  <p:hf hdr="0" ftr="0" dt="0"/>
  <p:txStyles>
    <p:titleStyle>
      <a:lvl1pPr algn="l" defTabSz="609525" rtl="0" eaLnBrk="1" fontAlgn="base" hangingPunct="1">
        <a:lnSpc>
          <a:spcPct val="90000"/>
        </a:lnSpc>
        <a:spcBef>
          <a:spcPct val="0"/>
        </a:spcBef>
        <a:spcAft>
          <a:spcPct val="0"/>
        </a:spcAft>
        <a:defRPr sz="2667"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6">
            <a:lum/>
          </a:blip>
          <a:srcRect/>
          <a:stretch>
            <a:fillRect/>
          </a:stretch>
        </a:blip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5B4AE5D-492D-441F-6BC7-55F55F0F663E}"/>
              </a:ext>
            </a:extLst>
          </p:cNvPr>
          <p:cNvGraphicFramePr>
            <a:graphicFrameLocks noChangeAspect="1"/>
          </p:cNvGraphicFramePr>
          <p:nvPr userDrawn="1">
            <p:custDataLst>
              <p:tags r:id="rId35"/>
            </p:custDataLst>
            <p:extLst>
              <p:ext uri="{D42A27DB-BD31-4B8C-83A1-F6EECF244321}">
                <p14:modId xmlns:p14="http://schemas.microsoft.com/office/powerpoint/2010/main" val="20786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606" imgH="605" progId="TCLayout.ActiveDocument.1">
                  <p:embed/>
                </p:oleObj>
              </mc:Choice>
              <mc:Fallback>
                <p:oleObj name="think-cell Slide" r:id="rId37" imgW="606" imgH="605" progId="TCLayout.ActiveDocument.1">
                  <p:embed/>
                  <p:pic>
                    <p:nvPicPr>
                      <p:cNvPr id="2" name="think-cell data - do not delete" hidden="1">
                        <a:extLst>
                          <a:ext uri="{FF2B5EF4-FFF2-40B4-BE49-F238E27FC236}">
                            <a16:creationId xmlns:a16="http://schemas.microsoft.com/office/drawing/2014/main" id="{A5B4AE5D-492D-441F-6BC7-55F55F0F663E}"/>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15" name="Text Placeholder 19"/>
          <p:cNvSpPr txBox="1">
            <a:spLocks/>
          </p:cNvSpPr>
          <p:nvPr/>
        </p:nvSpPr>
        <p:spPr>
          <a:xfrm>
            <a:off x="6781801" y="6389313"/>
            <a:ext cx="3693808" cy="13472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800" noProof="0" dirty="0">
                <a:solidFill>
                  <a:srgbClr val="454545"/>
                </a:solidFill>
              </a:rPr>
              <a:t>© GS1 South Africa</a:t>
            </a:r>
            <a:r>
              <a:rPr lang="en-GB" sz="800" baseline="0" noProof="0" dirty="0">
                <a:solidFill>
                  <a:srgbClr val="454545"/>
                </a:solidFill>
              </a:rPr>
              <a:t> </a:t>
            </a:r>
            <a:r>
              <a:rPr lang="en-GB" sz="800" noProof="0" dirty="0">
                <a:solidFill>
                  <a:srgbClr val="454545"/>
                </a:solidFill>
              </a:rPr>
              <a:t>2025</a:t>
            </a:r>
          </a:p>
        </p:txBody>
      </p:sp>
      <p:pic>
        <p:nvPicPr>
          <p:cNvPr id="6" name="Picture 5"/>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582896" y="6194843"/>
            <a:ext cx="1750185" cy="514644"/>
          </a:xfrm>
          <a:prstGeom prst="rect">
            <a:avLst/>
          </a:prstGeom>
        </p:spPr>
      </p:pic>
      <p:sp>
        <p:nvSpPr>
          <p:cNvPr id="7"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pic>
        <p:nvPicPr>
          <p:cNvPr id="3" name="Picture 2" descr="A picture containing text, clipart&#10;&#10;Description automatically generated">
            <a:extLst>
              <a:ext uri="{FF2B5EF4-FFF2-40B4-BE49-F238E27FC236}">
                <a16:creationId xmlns:a16="http://schemas.microsoft.com/office/drawing/2014/main" id="{886D3D3D-B226-8B0F-30E4-05AAA9CEBC8E}"/>
              </a:ext>
            </a:extLst>
          </p:cNvPr>
          <p:cNvPicPr>
            <a:picLocks noChangeAspect="1"/>
          </p:cNvPicPr>
          <p:nvPr userDrawn="1"/>
        </p:nvPicPr>
        <p:blipFill>
          <a:blip r:embed="rId40"/>
          <a:stretch>
            <a:fillRect/>
          </a:stretch>
        </p:blipFill>
        <p:spPr>
          <a:xfrm>
            <a:off x="598639" y="6194842"/>
            <a:ext cx="1160606" cy="520565"/>
          </a:xfrm>
          <a:prstGeom prst="rect">
            <a:avLst/>
          </a:prstGeom>
        </p:spPr>
      </p:pic>
    </p:spTree>
    <p:extLst>
      <p:ext uri="{BB962C8B-B14F-4D97-AF65-F5344CB8AC3E}">
        <p14:creationId xmlns:p14="http://schemas.microsoft.com/office/powerpoint/2010/main" val="279693914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Lst>
  <p:hf hdr="0" ftr="0" dt="0"/>
  <p:txStyles>
    <p:titleStyle>
      <a:lvl1pPr algn="l" defTabSz="609525" rtl="0" eaLnBrk="1" fontAlgn="base" hangingPunct="1">
        <a:lnSpc>
          <a:spcPct val="90000"/>
        </a:lnSpc>
        <a:spcBef>
          <a:spcPct val="0"/>
        </a:spcBef>
        <a:spcAft>
          <a:spcPct val="0"/>
        </a:spcAft>
        <a:defRPr sz="2667"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5410034-CFBA-318A-823D-C6C704162F1D}"/>
              </a:ext>
            </a:extLst>
          </p:cNvPr>
          <p:cNvGraphicFramePr>
            <a:graphicFrameLocks noChangeAspect="1"/>
          </p:cNvGraphicFramePr>
          <p:nvPr userDrawn="1">
            <p:custDataLst>
              <p:tags r:id="rId8"/>
            </p:custDataLst>
            <p:extLst>
              <p:ext uri="{D42A27DB-BD31-4B8C-83A1-F6EECF244321}">
                <p14:modId xmlns:p14="http://schemas.microsoft.com/office/powerpoint/2010/main" val="423392187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9" imgW="606" imgH="605" progId="TCLayout.ActiveDocument.1">
                  <p:embed/>
                </p:oleObj>
              </mc:Choice>
              <mc:Fallback>
                <p:oleObj name="think-cell Slide" r:id="rId9" imgW="606" imgH="605" progId="TCLayout.ActiveDocument.1">
                  <p:embed/>
                  <p:pic>
                    <p:nvPicPr>
                      <p:cNvPr id="2" name="think-cell data - do not delete" hidden="1">
                        <a:extLst>
                          <a:ext uri="{FF2B5EF4-FFF2-40B4-BE49-F238E27FC236}">
                            <a16:creationId xmlns:a16="http://schemas.microsoft.com/office/drawing/2014/main" id="{85410034-CFBA-318A-823D-C6C704162F1D}"/>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pic>
        <p:nvPicPr>
          <p:cNvPr id="6" name="Picture 5"/>
          <p:cNvPicPr>
            <a:picLocks noChangeAspect="1"/>
          </p:cNvPicPr>
          <p:nvPr/>
        </p:nvPicPr>
        <p:blipFill>
          <a:blip r:embed="rId11"/>
          <a:srcRect/>
          <a:stretch/>
        </p:blipFill>
        <p:spPr>
          <a:xfrm>
            <a:off x="609600" y="672085"/>
            <a:ext cx="2839483" cy="826516"/>
          </a:xfrm>
          <a:prstGeom prst="rect">
            <a:avLst/>
          </a:prstGeom>
        </p:spPr>
      </p:pic>
      <p:pic>
        <p:nvPicPr>
          <p:cNvPr id="9" name="Picture 8"/>
          <p:cNvPicPr>
            <a:picLocks noChangeAspect="1"/>
          </p:cNvPicPr>
          <p:nvPr/>
        </p:nvPicPr>
        <p:blipFill>
          <a:blip r:embed="rId12"/>
          <a:srcRect/>
          <a:stretch/>
        </p:blipFill>
        <p:spPr>
          <a:xfrm>
            <a:off x="9550401" y="1081692"/>
            <a:ext cx="1905879" cy="102931"/>
          </a:xfrm>
          <a:prstGeom prst="rect">
            <a:avLst/>
          </a:prstGeom>
        </p:spPr>
      </p:pic>
      <p:pic>
        <p:nvPicPr>
          <p:cNvPr id="3" name="Picture 2" descr="A picture containing text, clipart&#10;&#10;Description automatically generated">
            <a:extLst>
              <a:ext uri="{FF2B5EF4-FFF2-40B4-BE49-F238E27FC236}">
                <a16:creationId xmlns:a16="http://schemas.microsoft.com/office/drawing/2014/main" id="{57ECF5A2-9AC4-A2C5-6933-0B7E81F0937B}"/>
              </a:ext>
            </a:extLst>
          </p:cNvPr>
          <p:cNvPicPr>
            <a:picLocks noChangeAspect="1"/>
          </p:cNvPicPr>
          <p:nvPr userDrawn="1"/>
        </p:nvPicPr>
        <p:blipFill>
          <a:blip r:embed="rId13"/>
          <a:stretch>
            <a:fillRect/>
          </a:stretch>
        </p:blipFill>
        <p:spPr>
          <a:xfrm>
            <a:off x="609600" y="629209"/>
            <a:ext cx="1834798" cy="822960"/>
          </a:xfrm>
          <a:prstGeom prst="rect">
            <a:avLst/>
          </a:prstGeom>
        </p:spPr>
      </p:pic>
    </p:spTree>
    <p:extLst>
      <p:ext uri="{BB962C8B-B14F-4D97-AF65-F5344CB8AC3E}">
        <p14:creationId xmlns:p14="http://schemas.microsoft.com/office/powerpoint/2010/main" val="226263392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0"/>
          <a:stretch>
            <a:fillRect/>
          </a:stretch>
        </a:blip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2DFE96D-BEF2-22FE-12C1-22D06F6C5497}"/>
              </a:ext>
            </a:extLst>
          </p:cNvPr>
          <p:cNvGraphicFramePr>
            <a:graphicFrameLocks noChangeAspect="1"/>
          </p:cNvGraphicFramePr>
          <p:nvPr userDrawn="1">
            <p:custDataLst>
              <p:tags r:id="rId19"/>
            </p:custDataLst>
            <p:extLst>
              <p:ext uri="{D42A27DB-BD31-4B8C-83A1-F6EECF244321}">
                <p14:modId xmlns:p14="http://schemas.microsoft.com/office/powerpoint/2010/main" val="261483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606" imgH="605" progId="TCLayout.ActiveDocument.1">
                  <p:embed/>
                </p:oleObj>
              </mc:Choice>
              <mc:Fallback>
                <p:oleObj name="think-cell Slide" r:id="rId21" imgW="606" imgH="605" progId="TCLayout.ActiveDocument.1">
                  <p:embed/>
                  <p:pic>
                    <p:nvPicPr>
                      <p:cNvPr id="2" name="think-cell data - do not delete" hidden="1">
                        <a:extLst>
                          <a:ext uri="{FF2B5EF4-FFF2-40B4-BE49-F238E27FC236}">
                            <a16:creationId xmlns:a16="http://schemas.microsoft.com/office/drawing/2014/main" id="{42DFE96D-BEF2-22FE-12C1-22D06F6C549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Text Placeholder 19"/>
          <p:cNvSpPr txBox="1">
            <a:spLocks/>
          </p:cNvSpPr>
          <p:nvPr/>
        </p:nvSpPr>
        <p:spPr>
          <a:xfrm>
            <a:off x="6781801" y="6389313"/>
            <a:ext cx="3693808" cy="13472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155" rtl="0" eaLnBrk="1" fontAlgn="base" latinLnBrk="0" hangingPunct="1">
              <a:lnSpc>
                <a:spcPct val="100000"/>
              </a:lnSpc>
              <a:spcBef>
                <a:spcPct val="20000"/>
              </a:spcBef>
              <a:spcAft>
                <a:spcPct val="0"/>
              </a:spcAft>
              <a:buClr>
                <a:srgbClr val="F26334"/>
              </a:buClr>
              <a:buSzTx/>
              <a:buFont typeface="Arial"/>
              <a:buNone/>
              <a:tabLst/>
              <a:defRPr/>
            </a:pPr>
            <a:r>
              <a:rPr kumimoji="0" lang="en-GB" sz="800" b="0" i="0" u="none" strike="noStrike" kern="1200" cap="none" spc="0" normalizeH="0" baseline="0" noProof="0">
                <a:ln>
                  <a:noFill/>
                </a:ln>
                <a:solidFill>
                  <a:srgbClr val="454545"/>
                </a:solidFill>
                <a:effectLst/>
                <a:uLnTx/>
                <a:uFillTx/>
                <a:latin typeface="Verdana"/>
                <a:ea typeface="ＭＳ Ｐゴシック" charset="0"/>
              </a:rPr>
              <a:t>© GS1 2025</a:t>
            </a:r>
          </a:p>
        </p:txBody>
      </p:sp>
      <p:pic>
        <p:nvPicPr>
          <p:cNvPr id="7" name="Picture 6"/>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82896" y="6194843"/>
            <a:ext cx="1750185" cy="514644"/>
          </a:xfrm>
          <a:prstGeom prst="rect">
            <a:avLst/>
          </a:prstGeom>
        </p:spPr>
      </p:pic>
      <p:sp>
        <p:nvSpPr>
          <p:cNvPr id="9"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Tree>
    <p:extLst>
      <p:ext uri="{BB962C8B-B14F-4D97-AF65-F5344CB8AC3E}">
        <p14:creationId xmlns:p14="http://schemas.microsoft.com/office/powerpoint/2010/main" val="331712122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96639" y="230191"/>
            <a:ext cx="10991923" cy="906196"/>
          </a:xfrm>
          <a:prstGeom prst="rect">
            <a:avLst/>
          </a:prstGeom>
          <a:noFill/>
          <a:ln>
            <a:noFill/>
          </a:ln>
        </p:spPr>
        <p:txBody>
          <a:bodyPr vert="horz" wrap="square" lIns="0" tIns="45716" rIns="91431" bIns="45716" numCol="1" anchor="ctr" anchorCtr="0" compatLnSpc="1">
            <a:prstTxWarp prst="textNoShape">
              <a:avLst/>
            </a:prstTxWarp>
          </a:bodyPr>
          <a:lstStyle/>
          <a:p>
            <a:pPr lvl="0"/>
            <a:r>
              <a:rPr lang="en-GB" noProof="0" dirty="0"/>
              <a:t>Click to Edit Title</a:t>
            </a:r>
          </a:p>
        </p:txBody>
      </p:sp>
      <p:sp>
        <p:nvSpPr>
          <p:cNvPr id="15" name="Text Placeholder 19"/>
          <p:cNvSpPr txBox="1">
            <a:spLocks/>
          </p:cNvSpPr>
          <p:nvPr/>
        </p:nvSpPr>
        <p:spPr>
          <a:xfrm>
            <a:off x="6781801" y="6389313"/>
            <a:ext cx="3693808" cy="13472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800" noProof="0" dirty="0">
                <a:solidFill>
                  <a:srgbClr val="454545"/>
                </a:solidFill>
              </a:rPr>
              <a:t>© GS1</a:t>
            </a:r>
            <a:r>
              <a:rPr lang="en-GB" sz="800" baseline="0" noProof="0" dirty="0">
                <a:solidFill>
                  <a:srgbClr val="454545"/>
                </a:solidFill>
              </a:rPr>
              <a:t> MEMA </a:t>
            </a:r>
            <a:r>
              <a:rPr lang="en-GB" sz="800" noProof="0" dirty="0">
                <a:solidFill>
                  <a:srgbClr val="454545"/>
                </a:solidFill>
              </a:rPr>
              <a:t>2024</a:t>
            </a:r>
          </a:p>
        </p:txBody>
      </p:sp>
      <p:pic>
        <p:nvPicPr>
          <p:cNvPr id="6" name="Picture 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82896" y="6194843"/>
            <a:ext cx="1750185" cy="514644"/>
          </a:xfrm>
          <a:prstGeom prst="rect">
            <a:avLst/>
          </a:prstGeom>
        </p:spPr>
      </p:pic>
      <p:sp>
        <p:nvSpPr>
          <p:cNvPr id="7"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986324961"/>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2" r:id="rId21"/>
  </p:sldLayoutIdLst>
  <p:hf hdr="0" ftr="0" dt="0"/>
  <p:txStyles>
    <p:titleStyle>
      <a:lvl1pPr algn="l" defTabSz="609525" rtl="0" eaLnBrk="1" fontAlgn="base" hangingPunct="1">
        <a:lnSpc>
          <a:spcPct val="90000"/>
        </a:lnSpc>
        <a:spcBef>
          <a:spcPct val="0"/>
        </a:spcBef>
        <a:spcAft>
          <a:spcPct val="0"/>
        </a:spcAft>
        <a:defRPr sz="3333"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0591" y="874292"/>
            <a:ext cx="2839483" cy="834955"/>
          </a:xfrm>
          <a:prstGeom prst="rect">
            <a:avLst/>
          </a:prstGeom>
        </p:spPr>
      </p:pic>
      <p:pic>
        <p:nvPicPr>
          <p:cNvPr id="9" name="Picture 8" descr="14GSGL0011_D08_PPT_Cover_Global-Language-of-Business.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94334" y="1287911"/>
            <a:ext cx="1905879" cy="103348"/>
          </a:xfrm>
          <a:prstGeom prst="rect">
            <a:avLst/>
          </a:prstGeom>
        </p:spPr>
      </p:pic>
    </p:spTree>
    <p:extLst>
      <p:ext uri="{BB962C8B-B14F-4D97-AF65-F5344CB8AC3E}">
        <p14:creationId xmlns:p14="http://schemas.microsoft.com/office/powerpoint/2010/main" val="320746066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6.xml"/><Relationship Id="rId1" Type="http://schemas.openxmlformats.org/officeDocument/2006/relationships/tags" Target="../tags/tag28.xml"/><Relationship Id="rId5" Type="http://schemas.openxmlformats.org/officeDocument/2006/relationships/image" Target="../media/image33.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0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notesSlide" Target="../notesSlides/notesSlide3.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slideLayout" Target="../slideLayouts/slideLayout21.xml"/><Relationship Id="rId1" Type="http://schemas.openxmlformats.org/officeDocument/2006/relationships/tags" Target="../tags/tag30.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2.emf"/><Relationship Id="rId10" Type="http://schemas.openxmlformats.org/officeDocument/2006/relationships/image" Target="../media/image38.png"/><Relationship Id="rId4" Type="http://schemas.openxmlformats.org/officeDocument/2006/relationships/oleObject" Target="../embeddings/oleObject17.bin"/><Relationship Id="rId9" Type="http://schemas.openxmlformats.org/officeDocument/2006/relationships/image" Target="../media/image37.png"/><Relationship Id="rId14" Type="http://schemas.openxmlformats.org/officeDocument/2006/relationships/image" Target="../media/image42.png"/></Relationships>
</file>

<file path=ppt/slides/_rels/slide4.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notesSlide" Target="../notesSlides/notesSlide4.xml"/><Relationship Id="rId7" Type="http://schemas.openxmlformats.org/officeDocument/2006/relationships/image" Target="../media/image44.jpeg"/><Relationship Id="rId2" Type="http://schemas.openxmlformats.org/officeDocument/2006/relationships/slideLayout" Target="../slideLayouts/slideLayout21.xml"/><Relationship Id="rId1" Type="http://schemas.openxmlformats.org/officeDocument/2006/relationships/tags" Target="../tags/tag31.xml"/><Relationship Id="rId6" Type="http://schemas.openxmlformats.org/officeDocument/2006/relationships/image" Target="../media/image43.jpeg"/><Relationship Id="rId5" Type="http://schemas.openxmlformats.org/officeDocument/2006/relationships/image" Target="../media/image2.emf"/><Relationship Id="rId10" Type="http://schemas.openxmlformats.org/officeDocument/2006/relationships/image" Target="../media/image47.jpeg"/><Relationship Id="rId4" Type="http://schemas.openxmlformats.org/officeDocument/2006/relationships/oleObject" Target="../embeddings/oleObject18.bin"/><Relationship Id="rId9" Type="http://schemas.openxmlformats.org/officeDocument/2006/relationships/image" Target="../media/image46.jpe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jpeg"/><Relationship Id="rId18" Type="http://schemas.openxmlformats.org/officeDocument/2006/relationships/image" Target="../media/image65.jpeg"/><Relationship Id="rId26" Type="http://schemas.openxmlformats.org/officeDocument/2006/relationships/image" Target="../media/image73.emf"/><Relationship Id="rId3" Type="http://schemas.openxmlformats.org/officeDocument/2006/relationships/image" Target="../media/image50.emf"/><Relationship Id="rId21" Type="http://schemas.openxmlformats.org/officeDocument/2006/relationships/image" Target="../media/image68.jpe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jpeg"/><Relationship Id="rId25" Type="http://schemas.openxmlformats.org/officeDocument/2006/relationships/image" Target="../media/image72.png"/><Relationship Id="rId2" Type="http://schemas.openxmlformats.org/officeDocument/2006/relationships/notesSlide" Target="../notesSlides/notesSlide6.xml"/><Relationship Id="rId16" Type="http://schemas.openxmlformats.org/officeDocument/2006/relationships/image" Target="../media/image63.png"/><Relationship Id="rId20" Type="http://schemas.openxmlformats.org/officeDocument/2006/relationships/image" Target="../media/image67.jpeg"/><Relationship Id="rId29" Type="http://schemas.openxmlformats.org/officeDocument/2006/relationships/image" Target="../media/image76.png"/><Relationship Id="rId1" Type="http://schemas.openxmlformats.org/officeDocument/2006/relationships/slideLayout" Target="../slideLayouts/slideLayout118.xml"/><Relationship Id="rId6" Type="http://schemas.openxmlformats.org/officeDocument/2006/relationships/image" Target="../media/image53.png"/><Relationship Id="rId11" Type="http://schemas.openxmlformats.org/officeDocument/2006/relationships/image" Target="../media/image58.png"/><Relationship Id="rId24" Type="http://schemas.openxmlformats.org/officeDocument/2006/relationships/image" Target="../media/image71.jpeg"/><Relationship Id="rId32" Type="http://schemas.openxmlformats.org/officeDocument/2006/relationships/image" Target="../media/image79.png"/><Relationship Id="rId5" Type="http://schemas.openxmlformats.org/officeDocument/2006/relationships/image" Target="../media/image52.png"/><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png"/><Relationship Id="rId10" Type="http://schemas.openxmlformats.org/officeDocument/2006/relationships/image" Target="../media/image57.png"/><Relationship Id="rId19" Type="http://schemas.openxmlformats.org/officeDocument/2006/relationships/image" Target="../media/image66.png"/><Relationship Id="rId31" Type="http://schemas.openxmlformats.org/officeDocument/2006/relationships/image" Target="../media/image78.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jpeg"/><Relationship Id="rId22" Type="http://schemas.openxmlformats.org/officeDocument/2006/relationships/image" Target="../media/image69.png"/><Relationship Id="rId27" Type="http://schemas.openxmlformats.org/officeDocument/2006/relationships/image" Target="../media/image74.jpeg"/><Relationship Id="rId30" Type="http://schemas.openxmlformats.org/officeDocument/2006/relationships/image" Target="../media/image77.png"/></Relationships>
</file>

<file path=ppt/slides/_rels/slide7.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image" Target="../media/image80.png"/><Relationship Id="rId1" Type="http://schemas.openxmlformats.org/officeDocument/2006/relationships/slideLayout" Target="../slideLayouts/slideLayout37.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5" Type="http://schemas.openxmlformats.org/officeDocument/2006/relationships/image" Target="../media/image93.pn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2.png"/></Relationships>
</file>

<file path=ppt/slides/_rels/slide8.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jpeg"/><Relationship Id="rId2" Type="http://schemas.openxmlformats.org/officeDocument/2006/relationships/notesSlide" Target="../notesSlides/notesSlide7.xml"/><Relationship Id="rId1" Type="http://schemas.openxmlformats.org/officeDocument/2006/relationships/slideLayout" Target="../slideLayouts/slideLayout57.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 Id="rId9" Type="http://schemas.openxmlformats.org/officeDocument/2006/relationships/image" Target="../media/image100.png"/></Relationships>
</file>

<file path=ppt/slides/_rels/slide9.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8.xml"/><Relationship Id="rId1" Type="http://schemas.openxmlformats.org/officeDocument/2006/relationships/slideLayout" Target="../slideLayouts/slideLayout57.xml"/><Relationship Id="rId6" Type="http://schemas.openxmlformats.org/officeDocument/2006/relationships/image" Target="../media/image35.png"/><Relationship Id="rId5" Type="http://schemas.openxmlformats.org/officeDocument/2006/relationships/image" Target="../media/image103.png"/><Relationship Id="rId4" Type="http://schemas.openxmlformats.org/officeDocument/2006/relationships/image" Target="../media/image10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2A4DF7-BCB9-07E3-3ABF-BC21FE1AB0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think-cell data - do not delete" hidden="1">
                        <a:extLst>
                          <a:ext uri="{FF2B5EF4-FFF2-40B4-BE49-F238E27FC236}">
                            <a16:creationId xmlns:a16="http://schemas.microsoft.com/office/drawing/2014/main" id="{C62A4DF7-BCB9-07E3-3ABF-BC21FE1AB0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7E684E-CB89-DD88-A227-5E58157F414D}"/>
              </a:ext>
            </a:extLst>
          </p:cNvPr>
          <p:cNvSpPr>
            <a:spLocks noGrp="1"/>
          </p:cNvSpPr>
          <p:nvPr>
            <p:ph type="title"/>
          </p:nvPr>
        </p:nvSpPr>
        <p:spPr>
          <a:xfrm>
            <a:off x="609600" y="3580842"/>
            <a:ext cx="10398711" cy="725311"/>
          </a:xfrm>
        </p:spPr>
        <p:txBody>
          <a:bodyPr vert="horz" anchor="ctr"/>
          <a:lstStyle/>
          <a:p>
            <a:pPr>
              <a:spcAft>
                <a:spcPts val="1200"/>
              </a:spcAft>
            </a:pPr>
            <a:r>
              <a:rPr lang="en-GB" sz="3200" dirty="0"/>
              <a:t>Breaking Data Silos for Collaboration</a:t>
            </a:r>
            <a:br>
              <a:rPr lang="en-GB" sz="3200" dirty="0"/>
            </a:br>
            <a:r>
              <a:rPr lang="en-GB" sz="3200" dirty="0"/>
              <a:t>From Big Data to Fast Data</a:t>
            </a:r>
            <a:br>
              <a:rPr lang="en-ZA" dirty="0"/>
            </a:br>
            <a:br>
              <a:rPr lang="en-GB" sz="3000" b="1" dirty="0"/>
            </a:br>
            <a:endParaRPr lang="en-GB" sz="2800" b="1" dirty="0"/>
          </a:p>
        </p:txBody>
      </p:sp>
      <p:sp>
        <p:nvSpPr>
          <p:cNvPr id="5" name="Text Placeholder 4">
            <a:extLst>
              <a:ext uri="{FF2B5EF4-FFF2-40B4-BE49-F238E27FC236}">
                <a16:creationId xmlns:a16="http://schemas.microsoft.com/office/drawing/2014/main" id="{714BF91F-A89D-F745-6568-C6BE47C91659}"/>
              </a:ext>
            </a:extLst>
          </p:cNvPr>
          <p:cNvSpPr>
            <a:spLocks noGrp="1"/>
          </p:cNvSpPr>
          <p:nvPr>
            <p:ph type="body" sz="quarter" idx="14"/>
          </p:nvPr>
        </p:nvSpPr>
        <p:spPr>
          <a:xfrm>
            <a:off x="609600" y="5806312"/>
            <a:ext cx="7277608" cy="205052"/>
          </a:xfrm>
        </p:spPr>
        <p:txBody>
          <a:bodyPr/>
          <a:lstStyle/>
          <a:p>
            <a:r>
              <a:rPr lang="en-GB" sz="1600" dirty="0"/>
              <a:t>September 2025</a:t>
            </a:r>
          </a:p>
        </p:txBody>
      </p:sp>
      <p:sp>
        <p:nvSpPr>
          <p:cNvPr id="4" name="Text Placeholder 3">
            <a:extLst>
              <a:ext uri="{FF2B5EF4-FFF2-40B4-BE49-F238E27FC236}">
                <a16:creationId xmlns:a16="http://schemas.microsoft.com/office/drawing/2014/main" id="{B8E8EEC5-62ED-9D4C-1BF8-EEB3EFE2BF39}"/>
              </a:ext>
            </a:extLst>
          </p:cNvPr>
          <p:cNvSpPr>
            <a:spLocks noGrp="1"/>
          </p:cNvSpPr>
          <p:nvPr>
            <p:ph type="body" sz="quarter" idx="12"/>
          </p:nvPr>
        </p:nvSpPr>
        <p:spPr/>
        <p:txBody>
          <a:bodyPr/>
          <a:lstStyle/>
          <a:p>
            <a:r>
              <a:rPr lang="fr-FR" dirty="0"/>
              <a:t>Michele Francis Padayachee, GS1 South Africa</a:t>
            </a:r>
          </a:p>
        </p:txBody>
      </p:sp>
    </p:spTree>
    <p:extLst>
      <p:ext uri="{BB962C8B-B14F-4D97-AF65-F5344CB8AC3E}">
        <p14:creationId xmlns:p14="http://schemas.microsoft.com/office/powerpoint/2010/main" val="4119935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1451D-3235-A9F6-FF06-7FAA4CD519DE}"/>
              </a:ext>
            </a:extLst>
          </p:cNvPr>
          <p:cNvSpPr>
            <a:spLocks noGrp="1"/>
          </p:cNvSpPr>
          <p:nvPr>
            <p:ph type="title"/>
          </p:nvPr>
        </p:nvSpPr>
        <p:spPr/>
        <p:txBody>
          <a:bodyPr/>
          <a:lstStyle/>
          <a:p>
            <a:endParaRPr lang="fr-FR" dirty="0"/>
          </a:p>
        </p:txBody>
      </p:sp>
      <p:sp>
        <p:nvSpPr>
          <p:cNvPr id="3" name="Slide Number Placeholder 2">
            <a:extLst>
              <a:ext uri="{FF2B5EF4-FFF2-40B4-BE49-F238E27FC236}">
                <a16:creationId xmlns:a16="http://schemas.microsoft.com/office/drawing/2014/main" id="{0CD329F2-08EC-7107-A9D2-4576F12A3D7F}"/>
              </a:ext>
            </a:extLst>
          </p:cNvPr>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10</a:t>
            </a:fld>
            <a:endParaRPr lang="en-GB" noProof="0"/>
          </a:p>
        </p:txBody>
      </p:sp>
      <p:pic>
        <p:nvPicPr>
          <p:cNvPr id="4" name="Picture 3" descr="No alternative text description for this image">
            <a:extLst>
              <a:ext uri="{FF2B5EF4-FFF2-40B4-BE49-F238E27FC236}">
                <a16:creationId xmlns:a16="http://schemas.microsoft.com/office/drawing/2014/main" id="{AA25854E-CFCD-676D-D938-550B6AFFE46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6639" y="196007"/>
            <a:ext cx="6696064" cy="5625371"/>
          </a:xfrm>
          <a:prstGeom prst="rect">
            <a:avLst/>
          </a:prstGeom>
          <a:noFill/>
          <a:ln>
            <a:noFill/>
          </a:ln>
        </p:spPr>
      </p:pic>
      <p:pic>
        <p:nvPicPr>
          <p:cNvPr id="6" name="Picture 5">
            <a:extLst>
              <a:ext uri="{FF2B5EF4-FFF2-40B4-BE49-F238E27FC236}">
                <a16:creationId xmlns:a16="http://schemas.microsoft.com/office/drawing/2014/main" id="{768CC779-FDBE-8786-F12B-70721DFCC924}"/>
              </a:ext>
            </a:extLst>
          </p:cNvPr>
          <p:cNvPicPr>
            <a:picLocks noChangeAspect="1"/>
          </p:cNvPicPr>
          <p:nvPr/>
        </p:nvPicPr>
        <p:blipFill>
          <a:blip r:embed="rId4"/>
          <a:stretch>
            <a:fillRect/>
          </a:stretch>
        </p:blipFill>
        <p:spPr>
          <a:xfrm>
            <a:off x="7292703" y="196006"/>
            <a:ext cx="4302658" cy="5625371"/>
          </a:xfrm>
          <a:prstGeom prst="rect">
            <a:avLst/>
          </a:prstGeom>
        </p:spPr>
      </p:pic>
    </p:spTree>
    <p:extLst>
      <p:ext uri="{BB962C8B-B14F-4D97-AF65-F5344CB8AC3E}">
        <p14:creationId xmlns:p14="http://schemas.microsoft.com/office/powerpoint/2010/main" val="2278852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1E792-F628-1DA6-2E56-25A293C0FAB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B91A6C6-BA9E-BE45-5C2F-BA60928DE35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5" progId="TCLayout.ActiveDocument.1">
                  <p:embed/>
                </p:oleObj>
              </mc:Choice>
              <mc:Fallback>
                <p:oleObj name="think-cell Slide" r:id="rId4" imgW="606" imgH="605" progId="TCLayout.ActiveDocument.1">
                  <p:embed/>
                  <p:pic>
                    <p:nvPicPr>
                      <p:cNvPr id="6" name="think-cell data - do not delete" hidden="1">
                        <a:extLst>
                          <a:ext uri="{FF2B5EF4-FFF2-40B4-BE49-F238E27FC236}">
                            <a16:creationId xmlns:a16="http://schemas.microsoft.com/office/drawing/2014/main" id="{1B91A6C6-BA9E-BE45-5C2F-BA60928DE35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84D1B55-FAA0-8ED6-6678-8E9983D9AD4D}"/>
              </a:ext>
            </a:extLst>
          </p:cNvPr>
          <p:cNvSpPr>
            <a:spLocks noGrp="1"/>
          </p:cNvSpPr>
          <p:nvPr>
            <p:ph type="sldNum" sz="quarter" idx="12"/>
          </p:nvPr>
        </p:nvSpPr>
        <p:spPr>
          <a:xfrm>
            <a:off x="11263314" y="6346174"/>
            <a:ext cx="330047" cy="2002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72AB7F-E8D0-4874-A9B8-335B68DC5F05}" type="slidenum">
              <a:rPr kumimoji="0" lang="en-GB" sz="933" b="0" i="0" u="none" strike="noStrike" kern="1200" cap="none" spc="0" normalizeH="0" baseline="0" noProof="0">
                <a:ln>
                  <a:noFill/>
                </a:ln>
                <a:solidFill>
                  <a:srgbClr val="454545"/>
                </a:solidFill>
                <a:effectLst/>
                <a:uLnTx/>
                <a:uFillTx/>
                <a:latin typeface="Verdana"/>
                <a:ea typeface="+mn-e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8" name="Title 7">
            <a:extLst>
              <a:ext uri="{FF2B5EF4-FFF2-40B4-BE49-F238E27FC236}">
                <a16:creationId xmlns:a16="http://schemas.microsoft.com/office/drawing/2014/main" id="{69664C91-AD27-CA47-90C5-B470AFAE332D}"/>
              </a:ext>
            </a:extLst>
          </p:cNvPr>
          <p:cNvSpPr>
            <a:spLocks noGrp="1"/>
          </p:cNvSpPr>
          <p:nvPr>
            <p:ph type="title"/>
          </p:nvPr>
        </p:nvSpPr>
        <p:spPr>
          <a:xfrm>
            <a:off x="596640" y="196007"/>
            <a:ext cx="10996721" cy="906196"/>
          </a:xfrm>
        </p:spPr>
        <p:txBody>
          <a:bodyPr vert="horz"/>
          <a:lstStyle/>
          <a:p>
            <a:pPr algn="ctr"/>
            <a:r>
              <a:rPr lang="en-GB" b="1"/>
              <a:t>GS1 Vision 2030 </a:t>
            </a:r>
          </a:p>
        </p:txBody>
      </p:sp>
      <p:sp>
        <p:nvSpPr>
          <p:cNvPr id="11" name="TextBox 10">
            <a:extLst>
              <a:ext uri="{FF2B5EF4-FFF2-40B4-BE49-F238E27FC236}">
                <a16:creationId xmlns:a16="http://schemas.microsoft.com/office/drawing/2014/main" id="{4DA08056-80B4-955C-31B0-7160FE4B81FA}"/>
              </a:ext>
            </a:extLst>
          </p:cNvPr>
          <p:cNvSpPr txBox="1"/>
          <p:nvPr/>
        </p:nvSpPr>
        <p:spPr>
          <a:xfrm>
            <a:off x="2459842" y="1756770"/>
            <a:ext cx="7431843" cy="1200329"/>
          </a:xfrm>
          <a:prstGeom prst="rect">
            <a:avLst/>
          </a:prstGeom>
          <a:noFill/>
        </p:spPr>
        <p:txBody>
          <a:bodyPr wrap="none" rtlCol="0">
            <a:spAutoFit/>
          </a:bodyPr>
          <a:lstStyle/>
          <a:p>
            <a:pPr marL="0" marR="0" lvl="0" indent="0" algn="ctr" defTabSz="1625278" rtl="0" eaLnBrk="1" fontAlgn="auto" latinLnBrk="0" hangingPunct="1">
              <a:lnSpc>
                <a:spcPct val="9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Verdana"/>
                <a:ea typeface="+mn-ea"/>
                <a:cs typeface="+mn-cs"/>
              </a:rPr>
              <a:t>Powering trust in data</a:t>
            </a:r>
          </a:p>
          <a:p>
            <a:pPr marL="0" marR="0" lvl="0" indent="0" algn="ctr" defTabSz="1625278" rtl="0" eaLnBrk="1" fontAlgn="auto" latinLnBrk="0" hangingPunct="1">
              <a:lnSpc>
                <a:spcPct val="9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Verdana"/>
                <a:ea typeface="+mn-ea"/>
                <a:cs typeface="+mn-cs"/>
              </a:rPr>
              <a:t>for everyone everywhere</a:t>
            </a:r>
          </a:p>
        </p:txBody>
      </p:sp>
      <p:sp>
        <p:nvSpPr>
          <p:cNvPr id="2" name="TextBox 1">
            <a:extLst>
              <a:ext uri="{FF2B5EF4-FFF2-40B4-BE49-F238E27FC236}">
                <a16:creationId xmlns:a16="http://schemas.microsoft.com/office/drawing/2014/main" id="{50701FDB-A714-FD38-D7DC-69A14F289E66}"/>
              </a:ext>
            </a:extLst>
          </p:cNvPr>
          <p:cNvSpPr txBox="1"/>
          <p:nvPr/>
        </p:nvSpPr>
        <p:spPr>
          <a:xfrm>
            <a:off x="806262" y="3932885"/>
            <a:ext cx="3559673" cy="1154031"/>
          </a:xfrm>
          <a:prstGeom prst="rect">
            <a:avLst/>
          </a:prstGeom>
          <a:noFill/>
        </p:spPr>
        <p:txBody>
          <a:bodyPr wrap="square" lIns="130048" tIns="0" rIns="130048" bIns="0" rtlCol="0" anchor="ctr" anchorCtr="0">
            <a:noAutofit/>
          </a:bodyPr>
          <a:lstStyle/>
          <a:p>
            <a:pPr marL="0" marR="0" lvl="0" indent="0" algn="ctr" defTabSz="1625278" rtl="0" eaLnBrk="1" fontAlgn="auto" latinLnBrk="0" hangingPunct="1">
              <a:lnSpc>
                <a:spcPct val="90000"/>
              </a:lnSpc>
              <a:spcBef>
                <a:spcPts val="0"/>
              </a:spcBef>
              <a:spcAft>
                <a:spcPts val="533"/>
              </a:spcAft>
              <a:buClrTx/>
              <a:buSzTx/>
              <a:buFontTx/>
              <a:buNone/>
              <a:tabLst/>
              <a:defRPr/>
            </a:pPr>
            <a:r>
              <a:rPr kumimoji="0" lang="en-GB" sz="1600" b="1" i="0" u="none" strike="noStrike" kern="1200" cap="none" spc="0" normalizeH="0" baseline="0" noProof="0">
                <a:ln>
                  <a:noFill/>
                </a:ln>
                <a:solidFill>
                  <a:prstClr val="white"/>
                </a:solidFill>
                <a:effectLst/>
                <a:uLnTx/>
                <a:uFillTx/>
                <a:latin typeface="Verdana"/>
                <a:ea typeface="+mn-ea"/>
                <a:cs typeface="+mn-cs"/>
              </a:rPr>
              <a:t>Trusted data</a:t>
            </a:r>
          </a:p>
          <a:p>
            <a:pPr marL="0" marR="0" lvl="0" indent="0" algn="ctr" defTabSz="1625278"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Verdana"/>
                <a:ea typeface="+mn-ea"/>
                <a:cs typeface="+mn-cs"/>
              </a:rPr>
              <a:t>Innovative standards &amp; services to enhance trusted identification and trusted data</a:t>
            </a:r>
            <a:endParaRPr kumimoji="0" lang="en-GB" sz="1600" b="0" i="0" u="none" strike="noStrike" kern="1200" cap="none" spc="0" normalizeH="0" baseline="0" noProof="0">
              <a:ln>
                <a:noFill/>
              </a:ln>
              <a:solidFill>
                <a:prstClr val="white"/>
              </a:solidFill>
              <a:effectLst/>
              <a:uLnTx/>
              <a:uFillTx/>
              <a:latin typeface="Verdana"/>
              <a:ea typeface="Verdana"/>
              <a:cs typeface="+mn-cs"/>
            </a:endParaRPr>
          </a:p>
        </p:txBody>
      </p:sp>
      <p:sp>
        <p:nvSpPr>
          <p:cNvPr id="3" name="TextBox 2">
            <a:extLst>
              <a:ext uri="{FF2B5EF4-FFF2-40B4-BE49-F238E27FC236}">
                <a16:creationId xmlns:a16="http://schemas.microsoft.com/office/drawing/2014/main" id="{F7961E69-BE55-CE7F-1D20-AC42493B1412}"/>
              </a:ext>
            </a:extLst>
          </p:cNvPr>
          <p:cNvSpPr txBox="1"/>
          <p:nvPr/>
        </p:nvSpPr>
        <p:spPr>
          <a:xfrm>
            <a:off x="4402489" y="3932885"/>
            <a:ext cx="3389905" cy="1154031"/>
          </a:xfrm>
          <a:prstGeom prst="rect">
            <a:avLst/>
          </a:prstGeom>
          <a:noFill/>
        </p:spPr>
        <p:txBody>
          <a:bodyPr wrap="square" lIns="130048" tIns="0" rIns="130048" bIns="0" rtlCol="0" anchor="ctr" anchorCtr="0">
            <a:noAutofit/>
          </a:bodyPr>
          <a:lstStyle/>
          <a:p>
            <a:pPr marL="0" marR="0" lvl="0" indent="0" algn="ctr" defTabSz="1625278" rtl="0" eaLnBrk="1" fontAlgn="auto" latinLnBrk="0" hangingPunct="1">
              <a:lnSpc>
                <a:spcPct val="90000"/>
              </a:lnSpc>
              <a:spcBef>
                <a:spcPts val="0"/>
              </a:spcBef>
              <a:spcAft>
                <a:spcPts val="533"/>
              </a:spcAft>
              <a:buClrTx/>
              <a:buSzTx/>
              <a:buFontTx/>
              <a:buNone/>
              <a:tabLst/>
              <a:defRPr/>
            </a:pPr>
            <a:r>
              <a:rPr kumimoji="0" lang="en-GB" sz="1600" b="1" i="0" u="none" strike="noStrike" kern="1200" cap="none" spc="0" normalizeH="0" baseline="0" noProof="0">
                <a:ln>
                  <a:noFill/>
                </a:ln>
                <a:solidFill>
                  <a:prstClr val="white"/>
                </a:solidFill>
                <a:effectLst/>
                <a:uLnTx/>
                <a:uFillTx/>
                <a:latin typeface="Verdana"/>
                <a:ea typeface="+mn-ea"/>
                <a:cs typeface="+mn-cs"/>
              </a:rPr>
              <a:t>Collaboration</a:t>
            </a:r>
          </a:p>
          <a:p>
            <a:pPr marL="0" marR="0" lvl="0" indent="0" algn="ctr" defTabSz="1625278"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Verdana"/>
                <a:ea typeface="+mn-ea"/>
                <a:cs typeface="+mn-cs"/>
              </a:rPr>
              <a:t>Collaboration platform to inspire common solutions by and for industry and society</a:t>
            </a:r>
          </a:p>
        </p:txBody>
      </p:sp>
      <p:sp>
        <p:nvSpPr>
          <p:cNvPr id="5" name="TextBox 4">
            <a:extLst>
              <a:ext uri="{FF2B5EF4-FFF2-40B4-BE49-F238E27FC236}">
                <a16:creationId xmlns:a16="http://schemas.microsoft.com/office/drawing/2014/main" id="{AFD5905D-A200-1BF9-9CD9-73A9F93813A2}"/>
              </a:ext>
            </a:extLst>
          </p:cNvPr>
          <p:cNvSpPr txBox="1"/>
          <p:nvPr/>
        </p:nvSpPr>
        <p:spPr>
          <a:xfrm>
            <a:off x="7792391" y="3932885"/>
            <a:ext cx="3335732" cy="1154031"/>
          </a:xfrm>
          <a:prstGeom prst="rect">
            <a:avLst/>
          </a:prstGeom>
          <a:noFill/>
        </p:spPr>
        <p:txBody>
          <a:bodyPr wrap="square" lIns="130048" tIns="0" rIns="130048" bIns="0" rtlCol="0" anchor="ctr" anchorCtr="0">
            <a:noAutofit/>
          </a:bodyPr>
          <a:lstStyle/>
          <a:p>
            <a:pPr marL="0" marR="0" lvl="0" indent="0" algn="ctr" defTabSz="1625278" rtl="0" eaLnBrk="1" fontAlgn="auto" latinLnBrk="0" hangingPunct="1">
              <a:lnSpc>
                <a:spcPct val="90000"/>
              </a:lnSpc>
              <a:spcBef>
                <a:spcPts val="0"/>
              </a:spcBef>
              <a:spcAft>
                <a:spcPts val="533"/>
              </a:spcAft>
              <a:buClrTx/>
              <a:buSzTx/>
              <a:buFontTx/>
              <a:buNone/>
              <a:tabLst/>
              <a:defRPr/>
            </a:pPr>
            <a:r>
              <a:rPr kumimoji="0" lang="en-GB" sz="1600" b="1" i="0" u="none" strike="noStrike" kern="1200" cap="none" spc="0" normalizeH="0" baseline="0" noProof="0">
                <a:ln>
                  <a:noFill/>
                </a:ln>
                <a:solidFill>
                  <a:prstClr val="white"/>
                </a:solidFill>
                <a:effectLst/>
                <a:uLnTx/>
                <a:uFillTx/>
                <a:latin typeface="Verdana"/>
                <a:ea typeface="+mn-ea"/>
                <a:cs typeface="+mn-cs"/>
              </a:rPr>
              <a:t>Interoperability</a:t>
            </a:r>
          </a:p>
          <a:p>
            <a:pPr marL="0" marR="0" lvl="0" indent="0" algn="ctr" defTabSz="1625278"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Verdana"/>
                <a:ea typeface="+mn-ea"/>
                <a:cs typeface="+mn-cs"/>
              </a:rPr>
              <a:t>Interoperability across industries, stakeholders </a:t>
            </a:r>
            <a:br>
              <a:rPr kumimoji="0" lang="en-GB" sz="1600" b="0" i="0" u="none" strike="noStrike" kern="1200" cap="none" spc="0" normalizeH="0" baseline="0" noProof="0">
                <a:ln>
                  <a:noFill/>
                </a:ln>
                <a:solidFill>
                  <a:prstClr val="white"/>
                </a:solidFill>
                <a:effectLst/>
                <a:uLnTx/>
                <a:uFillTx/>
                <a:latin typeface="Verdana"/>
                <a:ea typeface="+mn-ea"/>
                <a:cs typeface="+mn-cs"/>
              </a:rPr>
            </a:br>
            <a:r>
              <a:rPr kumimoji="0" lang="en-GB" sz="1600" b="0" i="0" u="none" strike="noStrike" kern="1200" cap="none" spc="0" normalizeH="0" baseline="0" noProof="0">
                <a:ln>
                  <a:noFill/>
                </a:ln>
                <a:solidFill>
                  <a:prstClr val="white"/>
                </a:solidFill>
                <a:effectLst/>
                <a:uLnTx/>
                <a:uFillTx/>
                <a:latin typeface="Verdana"/>
                <a:ea typeface="+mn-ea"/>
                <a:cs typeface="+mn-cs"/>
              </a:rPr>
              <a:t>and geographies</a:t>
            </a:r>
          </a:p>
        </p:txBody>
      </p:sp>
      <p:cxnSp>
        <p:nvCxnSpPr>
          <p:cNvPr id="7" name="Straight Connector 6">
            <a:extLst>
              <a:ext uri="{FF2B5EF4-FFF2-40B4-BE49-F238E27FC236}">
                <a16:creationId xmlns:a16="http://schemas.microsoft.com/office/drawing/2014/main" id="{630052B0-085C-C2D8-47A5-B4F6A9214349}"/>
              </a:ext>
            </a:extLst>
          </p:cNvPr>
          <p:cNvCxnSpPr>
            <a:cxnSpLocks/>
          </p:cNvCxnSpPr>
          <p:nvPr/>
        </p:nvCxnSpPr>
        <p:spPr>
          <a:xfrm>
            <a:off x="4384210" y="4033028"/>
            <a:ext cx="0" cy="953744"/>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41CADCBD-81A0-554A-8031-7A556E7A2FF2}"/>
              </a:ext>
            </a:extLst>
          </p:cNvPr>
          <p:cNvCxnSpPr>
            <a:cxnSpLocks/>
          </p:cNvCxnSpPr>
          <p:nvPr/>
        </p:nvCxnSpPr>
        <p:spPr>
          <a:xfrm>
            <a:off x="7792390" y="4033028"/>
            <a:ext cx="0" cy="953744"/>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14B0C6EC-7616-AE52-4282-D685C2FD8A03}"/>
              </a:ext>
            </a:extLst>
          </p:cNvPr>
          <p:cNvSpPr txBox="1"/>
          <p:nvPr/>
        </p:nvSpPr>
        <p:spPr>
          <a:xfrm>
            <a:off x="2830518" y="3422885"/>
            <a:ext cx="6536985" cy="369332"/>
          </a:xfrm>
          <a:prstGeom prst="rect">
            <a:avLst/>
          </a:prstGeom>
          <a:noFill/>
        </p:spPr>
        <p:txBody>
          <a:bodyPr wrap="square">
            <a:spAutoFit/>
          </a:bodyPr>
          <a:lstStyle/>
          <a:p>
            <a:pPr marL="0" marR="0" lvl="0" indent="0" algn="ctr" defTabSz="1625278" rtl="0" eaLnBrk="1" fontAlgn="auto" latinLnBrk="0" hangingPunct="1">
              <a:lnSpc>
                <a:spcPct val="90000"/>
              </a:lnSpc>
              <a:spcBef>
                <a:spcPts val="0"/>
              </a:spcBef>
              <a:spcAft>
                <a:spcPts val="533"/>
              </a:spcAft>
              <a:buClrTx/>
              <a:buSzTx/>
              <a:buFontTx/>
              <a:buNone/>
              <a:tabLst/>
              <a:defRPr/>
            </a:pPr>
            <a:r>
              <a:rPr kumimoji="0" lang="en-GB" sz="2000" b="1" i="0" u="none" strike="noStrike" kern="1200" cap="none" spc="0" normalizeH="0" baseline="0" noProof="0">
                <a:ln>
                  <a:noFill/>
                </a:ln>
                <a:solidFill>
                  <a:srgbClr val="F26334"/>
                </a:solidFill>
                <a:effectLst/>
                <a:uLnTx/>
                <a:uFillTx/>
                <a:latin typeface="Verdana"/>
                <a:ea typeface="+mn-ea"/>
                <a:cs typeface="+mn-cs"/>
              </a:rPr>
              <a:t>Unique strategic benefits</a:t>
            </a:r>
          </a:p>
        </p:txBody>
      </p:sp>
    </p:spTree>
    <p:extLst>
      <p:ext uri="{BB962C8B-B14F-4D97-AF65-F5344CB8AC3E}">
        <p14:creationId xmlns:p14="http://schemas.microsoft.com/office/powerpoint/2010/main" val="39416912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9D19B-4C7D-31A7-AB0B-CC3B5F49840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8E03A78-E964-85CC-2172-6B7C5F6A75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5" progId="TCLayout.ActiveDocument.1">
                  <p:embed/>
                </p:oleObj>
              </mc:Choice>
              <mc:Fallback>
                <p:oleObj name="think-cell Slide" r:id="rId4" imgW="606" imgH="605" progId="TCLayout.ActiveDocument.1">
                  <p:embed/>
                  <p:pic>
                    <p:nvPicPr>
                      <p:cNvPr id="6" name="think-cell data - do not delete" hidden="1">
                        <a:extLst>
                          <a:ext uri="{FF2B5EF4-FFF2-40B4-BE49-F238E27FC236}">
                            <a16:creationId xmlns:a16="http://schemas.microsoft.com/office/drawing/2014/main" id="{88E03A78-E964-85CC-2172-6B7C5F6A75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6138F17-3AD9-BF07-15E7-9D076EEB055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72AB7F-E8D0-4874-A9B8-335B68DC5F05}" type="slidenum">
              <a:rPr kumimoji="0" lang="en-GB" sz="933" b="0" i="0" u="none" strike="noStrike" kern="1200" cap="none" spc="0" normalizeH="0" baseline="0" noProof="0">
                <a:ln>
                  <a:noFill/>
                </a:ln>
                <a:solidFill>
                  <a:srgbClr val="454545"/>
                </a:solidFill>
                <a:effectLst/>
                <a:uLnTx/>
                <a:uFillTx/>
                <a:latin typeface="Verdana"/>
                <a:ea typeface="+mn-ea"/>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8" name="Title 7">
            <a:extLst>
              <a:ext uri="{FF2B5EF4-FFF2-40B4-BE49-F238E27FC236}">
                <a16:creationId xmlns:a16="http://schemas.microsoft.com/office/drawing/2014/main" id="{F72F3850-BE47-F93E-1155-E334BD8DBD4D}"/>
              </a:ext>
            </a:extLst>
          </p:cNvPr>
          <p:cNvSpPr>
            <a:spLocks noGrp="1"/>
          </p:cNvSpPr>
          <p:nvPr>
            <p:ph type="title"/>
          </p:nvPr>
        </p:nvSpPr>
        <p:spPr/>
        <p:txBody>
          <a:bodyPr vert="horz"/>
          <a:lstStyle/>
          <a:p>
            <a:pPr algn="ctr" defTabSz="914377">
              <a:spcAft>
                <a:spcPts val="600"/>
              </a:spcAft>
              <a:defRPr/>
            </a:pPr>
            <a:r>
              <a:rPr lang="en-GB" b="1">
                <a:solidFill>
                  <a:srgbClr val="FFFFFF"/>
                </a:solidFill>
                <a:latin typeface="Verdana"/>
              </a:rPr>
              <a:t>Accelerate business value creation </a:t>
            </a:r>
            <a:br>
              <a:rPr lang="en-GB" b="1">
                <a:solidFill>
                  <a:srgbClr val="FFFFFF"/>
                </a:solidFill>
                <a:latin typeface="Verdana"/>
              </a:rPr>
            </a:br>
            <a:r>
              <a:rPr lang="en-GB" b="1">
                <a:solidFill>
                  <a:srgbClr val="FFFFFF"/>
                </a:solidFill>
                <a:latin typeface="Verdana"/>
              </a:rPr>
              <a:t>for the industries </a:t>
            </a:r>
            <a:r>
              <a:rPr lang="en-GB" b="1">
                <a:latin typeface="Verdana"/>
              </a:rPr>
              <a:t>we serve</a:t>
            </a:r>
          </a:p>
        </p:txBody>
      </p:sp>
      <p:grpSp>
        <p:nvGrpSpPr>
          <p:cNvPr id="106" name="Group 105">
            <a:extLst>
              <a:ext uri="{FF2B5EF4-FFF2-40B4-BE49-F238E27FC236}">
                <a16:creationId xmlns:a16="http://schemas.microsoft.com/office/drawing/2014/main" id="{FF4AF680-5BD9-9888-B0E5-DB5035D7D750}"/>
              </a:ext>
            </a:extLst>
          </p:cNvPr>
          <p:cNvGrpSpPr/>
          <p:nvPr/>
        </p:nvGrpSpPr>
        <p:grpSpPr>
          <a:xfrm>
            <a:off x="813967" y="2012772"/>
            <a:ext cx="4046722" cy="871990"/>
            <a:chOff x="895468" y="2012772"/>
            <a:chExt cx="4046722" cy="871990"/>
          </a:xfrm>
        </p:grpSpPr>
        <p:grpSp>
          <p:nvGrpSpPr>
            <p:cNvPr id="107" name="Group 106">
              <a:extLst>
                <a:ext uri="{FF2B5EF4-FFF2-40B4-BE49-F238E27FC236}">
                  <a16:creationId xmlns:a16="http://schemas.microsoft.com/office/drawing/2014/main" id="{00E3086F-86EA-EA60-4D59-2C922DCE5500}"/>
                </a:ext>
              </a:extLst>
            </p:cNvPr>
            <p:cNvGrpSpPr/>
            <p:nvPr/>
          </p:nvGrpSpPr>
          <p:grpSpPr>
            <a:xfrm>
              <a:off x="895468" y="2012772"/>
              <a:ext cx="870495" cy="870494"/>
              <a:chOff x="720181" y="2012772"/>
              <a:chExt cx="870495" cy="870494"/>
            </a:xfrm>
          </p:grpSpPr>
          <p:pic>
            <p:nvPicPr>
              <p:cNvPr id="111" name="Picture 110" descr="Retail industry - CPG">
                <a:extLst>
                  <a:ext uri="{FF2B5EF4-FFF2-40B4-BE49-F238E27FC236}">
                    <a16:creationId xmlns:a16="http://schemas.microsoft.com/office/drawing/2014/main" id="{6E66D61D-5CD7-0047-57C7-101406737047}"/>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720182" y="2012772"/>
                <a:ext cx="870494" cy="870494"/>
              </a:xfrm>
              <a:prstGeom prst="rect">
                <a:avLst/>
              </a:prstGeom>
              <a:noFill/>
            </p:spPr>
          </p:pic>
          <p:sp>
            <p:nvSpPr>
              <p:cNvPr id="112" name="Oval 111">
                <a:extLst>
                  <a:ext uri="{FF2B5EF4-FFF2-40B4-BE49-F238E27FC236}">
                    <a16:creationId xmlns:a16="http://schemas.microsoft.com/office/drawing/2014/main" id="{D6D23EFD-AA24-4A57-5FA6-7D1990BD4E84}"/>
                  </a:ext>
                </a:extLst>
              </p:cNvPr>
              <p:cNvSpPr/>
              <p:nvPr/>
            </p:nvSpPr>
            <p:spPr>
              <a:xfrm>
                <a:off x="720181" y="2012772"/>
                <a:ext cx="870495" cy="870494"/>
              </a:xfrm>
              <a:prstGeom prst="ellipse">
                <a:avLst/>
              </a:prstGeom>
              <a:no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454545"/>
                  </a:solidFill>
                  <a:effectLst/>
                  <a:uLnTx/>
                  <a:uFillTx/>
                  <a:latin typeface="Verdana"/>
                  <a:ea typeface="+mn-ea"/>
                  <a:cs typeface="+mn-cs"/>
                </a:endParaRPr>
              </a:p>
            </p:txBody>
          </p:sp>
        </p:grpSp>
        <p:grpSp>
          <p:nvGrpSpPr>
            <p:cNvPr id="108" name="Group 107">
              <a:extLst>
                <a:ext uri="{FF2B5EF4-FFF2-40B4-BE49-F238E27FC236}">
                  <a16:creationId xmlns:a16="http://schemas.microsoft.com/office/drawing/2014/main" id="{0E17C4F1-EEE5-AA48-C618-1181604FB452}"/>
                </a:ext>
              </a:extLst>
            </p:cNvPr>
            <p:cNvGrpSpPr/>
            <p:nvPr/>
          </p:nvGrpSpPr>
          <p:grpSpPr>
            <a:xfrm>
              <a:off x="4071620" y="2012772"/>
              <a:ext cx="870570" cy="871990"/>
              <a:chOff x="2981580" y="2012772"/>
              <a:chExt cx="870570" cy="871990"/>
            </a:xfrm>
          </p:grpSpPr>
          <p:pic>
            <p:nvPicPr>
              <p:cNvPr id="109" name="Picture 108" descr="A close up of a sign&#10;&#10;Description automatically generated">
                <a:extLst>
                  <a:ext uri="{FF2B5EF4-FFF2-40B4-BE49-F238E27FC236}">
                    <a16:creationId xmlns:a16="http://schemas.microsoft.com/office/drawing/2014/main" id="{37804577-6936-9143-7573-93BEED9C30C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81580" y="2014268"/>
                <a:ext cx="870570" cy="870494"/>
              </a:xfrm>
              <a:prstGeom prst="rect">
                <a:avLst/>
              </a:prstGeom>
            </p:spPr>
          </p:pic>
          <p:sp>
            <p:nvSpPr>
              <p:cNvPr id="110" name="Oval 109">
                <a:extLst>
                  <a:ext uri="{FF2B5EF4-FFF2-40B4-BE49-F238E27FC236}">
                    <a16:creationId xmlns:a16="http://schemas.microsoft.com/office/drawing/2014/main" id="{C1BF412D-F7F5-6609-A763-FCDA777970D0}"/>
                  </a:ext>
                </a:extLst>
              </p:cNvPr>
              <p:cNvSpPr/>
              <p:nvPr/>
            </p:nvSpPr>
            <p:spPr>
              <a:xfrm>
                <a:off x="2981580" y="2012772"/>
                <a:ext cx="870495" cy="870494"/>
              </a:xfrm>
              <a:prstGeom prst="ellipse">
                <a:avLst/>
              </a:prstGeom>
              <a:no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454545"/>
                  </a:solidFill>
                  <a:effectLst/>
                  <a:uLnTx/>
                  <a:uFillTx/>
                  <a:latin typeface="Verdana"/>
                  <a:ea typeface="+mn-ea"/>
                  <a:cs typeface="+mn-cs"/>
                </a:endParaRPr>
              </a:p>
            </p:txBody>
          </p:sp>
        </p:grpSp>
      </p:grpSp>
      <p:grpSp>
        <p:nvGrpSpPr>
          <p:cNvPr id="113" name="Group 112">
            <a:extLst>
              <a:ext uri="{FF2B5EF4-FFF2-40B4-BE49-F238E27FC236}">
                <a16:creationId xmlns:a16="http://schemas.microsoft.com/office/drawing/2014/main" id="{4BF4CF68-5608-BE05-73B2-B3E918689458}"/>
              </a:ext>
            </a:extLst>
          </p:cNvPr>
          <p:cNvGrpSpPr/>
          <p:nvPr/>
        </p:nvGrpSpPr>
        <p:grpSpPr>
          <a:xfrm>
            <a:off x="2392609" y="2012772"/>
            <a:ext cx="889401" cy="870494"/>
            <a:chOff x="1841447" y="2012772"/>
            <a:chExt cx="889401" cy="870494"/>
          </a:xfrm>
        </p:grpSpPr>
        <p:pic>
          <p:nvPicPr>
            <p:cNvPr id="114" name="Picture 113" descr="A close up of a sign&#10;&#10;Description automatically generated">
              <a:extLst>
                <a:ext uri="{FF2B5EF4-FFF2-40B4-BE49-F238E27FC236}">
                  <a16:creationId xmlns:a16="http://schemas.microsoft.com/office/drawing/2014/main" id="{592CC574-9D09-4DD4-6FEB-66C02EB596ED}"/>
                </a:ext>
              </a:extLst>
            </p:cNvPr>
            <p:cNvPicPr>
              <a:picLocks noChangeAspect="1"/>
            </p:cNvPicPr>
            <p:nvPr/>
          </p:nvPicPr>
          <p:blipFill>
            <a:blip r:embed="rId8"/>
            <a:stretch>
              <a:fillRect/>
            </a:stretch>
          </p:blipFill>
          <p:spPr>
            <a:xfrm>
              <a:off x="1841447" y="2012772"/>
              <a:ext cx="889401" cy="870494"/>
            </a:xfrm>
            <a:prstGeom prst="rect">
              <a:avLst/>
            </a:prstGeom>
            <a:noFill/>
          </p:spPr>
        </p:pic>
        <p:sp>
          <p:nvSpPr>
            <p:cNvPr id="115" name="Oval 114">
              <a:extLst>
                <a:ext uri="{FF2B5EF4-FFF2-40B4-BE49-F238E27FC236}">
                  <a16:creationId xmlns:a16="http://schemas.microsoft.com/office/drawing/2014/main" id="{76D8A789-C43E-D17F-F238-74CED697D4F1}"/>
                </a:ext>
              </a:extLst>
            </p:cNvPr>
            <p:cNvSpPr/>
            <p:nvPr/>
          </p:nvSpPr>
          <p:spPr>
            <a:xfrm>
              <a:off x="1841447" y="2012772"/>
              <a:ext cx="870495" cy="870494"/>
            </a:xfrm>
            <a:prstGeom prst="ellipse">
              <a:avLst/>
            </a:prstGeom>
            <a:no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454545"/>
                </a:solidFill>
                <a:effectLst/>
                <a:uLnTx/>
                <a:uFillTx/>
                <a:latin typeface="Verdana"/>
                <a:ea typeface="+mn-ea"/>
                <a:cs typeface="+mn-cs"/>
              </a:endParaRPr>
            </a:p>
          </p:txBody>
        </p:sp>
      </p:grpSp>
      <p:grpSp>
        <p:nvGrpSpPr>
          <p:cNvPr id="116" name="Group 115">
            <a:extLst>
              <a:ext uri="{FF2B5EF4-FFF2-40B4-BE49-F238E27FC236}">
                <a16:creationId xmlns:a16="http://schemas.microsoft.com/office/drawing/2014/main" id="{D8B2BA06-BE06-1459-982E-DC412389E03A}"/>
              </a:ext>
            </a:extLst>
          </p:cNvPr>
          <p:cNvGrpSpPr/>
          <p:nvPr/>
        </p:nvGrpSpPr>
        <p:grpSpPr>
          <a:xfrm>
            <a:off x="813967" y="1524020"/>
            <a:ext cx="4046722" cy="215444"/>
            <a:chOff x="571646" y="1524020"/>
            <a:chExt cx="3429000" cy="215444"/>
          </a:xfrm>
        </p:grpSpPr>
        <p:cxnSp>
          <p:nvCxnSpPr>
            <p:cNvPr id="118" name="Straight Connector 117">
              <a:extLst>
                <a:ext uri="{FF2B5EF4-FFF2-40B4-BE49-F238E27FC236}">
                  <a16:creationId xmlns:a16="http://schemas.microsoft.com/office/drawing/2014/main" id="{042CAF4A-9799-FE55-9ECA-505D31F1279E}"/>
                </a:ext>
              </a:extLst>
            </p:cNvPr>
            <p:cNvCxnSpPr>
              <a:cxnSpLocks/>
            </p:cNvCxnSpPr>
            <p:nvPr/>
          </p:nvCxnSpPr>
          <p:spPr>
            <a:xfrm>
              <a:off x="571646" y="1631742"/>
              <a:ext cx="34290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9" name="Rectangle 118">
              <a:extLst>
                <a:ext uri="{FF2B5EF4-FFF2-40B4-BE49-F238E27FC236}">
                  <a16:creationId xmlns:a16="http://schemas.microsoft.com/office/drawing/2014/main" id="{26977F88-9295-C158-6662-C58DB010468B}"/>
                </a:ext>
              </a:extLst>
            </p:cNvPr>
            <p:cNvSpPr/>
            <p:nvPr/>
          </p:nvSpPr>
          <p:spPr>
            <a:xfrm>
              <a:off x="1191194" y="1524020"/>
              <a:ext cx="2189904" cy="215444"/>
            </a:xfrm>
            <a:prstGeom prst="rect">
              <a:avLst/>
            </a:prstGeom>
            <a:solidFill>
              <a:srgbClr val="002C6C"/>
            </a:solidFill>
            <a:ln w="25400"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Verdana"/>
                  <a:ea typeface="+mn-ea"/>
                  <a:cs typeface="+mn-cs"/>
                </a:rPr>
                <a:t>Retail &amp; Marketplaces</a:t>
              </a:r>
            </a:p>
          </p:txBody>
        </p:sp>
      </p:grpSp>
      <p:grpSp>
        <p:nvGrpSpPr>
          <p:cNvPr id="120" name="Group 119">
            <a:extLst>
              <a:ext uri="{FF2B5EF4-FFF2-40B4-BE49-F238E27FC236}">
                <a16:creationId xmlns:a16="http://schemas.microsoft.com/office/drawing/2014/main" id="{48B780FF-9293-472C-2E42-CAD87364022F}"/>
              </a:ext>
            </a:extLst>
          </p:cNvPr>
          <p:cNvGrpSpPr/>
          <p:nvPr/>
        </p:nvGrpSpPr>
        <p:grpSpPr>
          <a:xfrm>
            <a:off x="7095121" y="1538984"/>
            <a:ext cx="2926346" cy="200479"/>
            <a:chOff x="6188115" y="1524020"/>
            <a:chExt cx="2890389" cy="215444"/>
          </a:xfrm>
        </p:grpSpPr>
        <p:cxnSp>
          <p:nvCxnSpPr>
            <p:cNvPr id="121" name="Straight Connector 120">
              <a:extLst>
                <a:ext uri="{FF2B5EF4-FFF2-40B4-BE49-F238E27FC236}">
                  <a16:creationId xmlns:a16="http://schemas.microsoft.com/office/drawing/2014/main" id="{73574C05-7387-9F3B-412E-61B39268D99D}"/>
                </a:ext>
              </a:extLst>
            </p:cNvPr>
            <p:cNvCxnSpPr>
              <a:cxnSpLocks/>
            </p:cNvCxnSpPr>
            <p:nvPr/>
          </p:nvCxnSpPr>
          <p:spPr>
            <a:xfrm>
              <a:off x="6188115" y="1631742"/>
              <a:ext cx="289038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2" name="Rectangle 121">
              <a:extLst>
                <a:ext uri="{FF2B5EF4-FFF2-40B4-BE49-F238E27FC236}">
                  <a16:creationId xmlns:a16="http://schemas.microsoft.com/office/drawing/2014/main" id="{FC733B94-B75D-1C77-4321-CD990A966469}"/>
                </a:ext>
              </a:extLst>
            </p:cNvPr>
            <p:cNvSpPr/>
            <p:nvPr/>
          </p:nvSpPr>
          <p:spPr>
            <a:xfrm>
              <a:off x="6410545" y="1524020"/>
              <a:ext cx="2445528" cy="215444"/>
            </a:xfrm>
            <a:prstGeom prst="rect">
              <a:avLst/>
            </a:prstGeom>
            <a:solidFill>
              <a:srgbClr val="002C6C"/>
            </a:solidFill>
            <a:ln w="25400" cap="flat" cmpd="sng" algn="ctr">
              <a:noFill/>
              <a:prstDash val="soli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Verdana"/>
                  <a:ea typeface="+mn-ea"/>
                  <a:cs typeface="+mn-cs"/>
                </a:rPr>
                <a:t>Technical Industries</a:t>
              </a:r>
            </a:p>
          </p:txBody>
        </p:sp>
      </p:grpSp>
      <p:grpSp>
        <p:nvGrpSpPr>
          <p:cNvPr id="123" name="Group 122">
            <a:extLst>
              <a:ext uri="{FF2B5EF4-FFF2-40B4-BE49-F238E27FC236}">
                <a16:creationId xmlns:a16="http://schemas.microsoft.com/office/drawing/2014/main" id="{8E64D632-084C-9A76-82E1-1AEC97EFAFCF}"/>
              </a:ext>
            </a:extLst>
          </p:cNvPr>
          <p:cNvGrpSpPr/>
          <p:nvPr/>
        </p:nvGrpSpPr>
        <p:grpSpPr>
          <a:xfrm>
            <a:off x="5158920" y="1524020"/>
            <a:ext cx="1637970" cy="215444"/>
            <a:chOff x="4122435" y="1524020"/>
            <a:chExt cx="1943891" cy="215444"/>
          </a:xfrm>
        </p:grpSpPr>
        <p:cxnSp>
          <p:nvCxnSpPr>
            <p:cNvPr id="124" name="Straight Connector 123">
              <a:extLst>
                <a:ext uri="{FF2B5EF4-FFF2-40B4-BE49-F238E27FC236}">
                  <a16:creationId xmlns:a16="http://schemas.microsoft.com/office/drawing/2014/main" id="{11139D9D-466E-E066-4E20-B043862A52F6}"/>
                </a:ext>
              </a:extLst>
            </p:cNvPr>
            <p:cNvCxnSpPr>
              <a:cxnSpLocks/>
            </p:cNvCxnSpPr>
            <p:nvPr/>
          </p:nvCxnSpPr>
          <p:spPr>
            <a:xfrm>
              <a:off x="4122435" y="1631742"/>
              <a:ext cx="1943891"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5" name="Rectangle 124">
              <a:extLst>
                <a:ext uri="{FF2B5EF4-FFF2-40B4-BE49-F238E27FC236}">
                  <a16:creationId xmlns:a16="http://schemas.microsoft.com/office/drawing/2014/main" id="{E64B4301-9EFA-3E10-E853-61E25BA3DCBC}"/>
                </a:ext>
              </a:extLst>
            </p:cNvPr>
            <p:cNvSpPr/>
            <p:nvPr/>
          </p:nvSpPr>
          <p:spPr>
            <a:xfrm>
              <a:off x="4405831" y="1524020"/>
              <a:ext cx="1377101" cy="215444"/>
            </a:xfrm>
            <a:prstGeom prst="rect">
              <a:avLst/>
            </a:prstGeom>
            <a:solidFill>
              <a:srgbClr val="002C6C"/>
            </a:solidFill>
            <a:ln w="25400" cap="flat" cmpd="sng" algn="ctr">
              <a:noFill/>
              <a:prstDash val="soli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Verdana"/>
                  <a:ea typeface="+mn-ea"/>
                  <a:cs typeface="+mn-cs"/>
                </a:rPr>
                <a:t>Healthcare</a:t>
              </a:r>
            </a:p>
          </p:txBody>
        </p:sp>
      </p:grpSp>
      <p:grpSp>
        <p:nvGrpSpPr>
          <p:cNvPr id="126" name="Group 125">
            <a:extLst>
              <a:ext uri="{FF2B5EF4-FFF2-40B4-BE49-F238E27FC236}">
                <a16:creationId xmlns:a16="http://schemas.microsoft.com/office/drawing/2014/main" id="{DF322274-8C1E-CAC8-49BA-721770679AF6}"/>
              </a:ext>
            </a:extLst>
          </p:cNvPr>
          <p:cNvGrpSpPr/>
          <p:nvPr/>
        </p:nvGrpSpPr>
        <p:grpSpPr>
          <a:xfrm>
            <a:off x="4614176" y="4340893"/>
            <a:ext cx="2963644" cy="1611377"/>
            <a:chOff x="5465445" y="4340893"/>
            <a:chExt cx="2963644" cy="1611377"/>
          </a:xfrm>
        </p:grpSpPr>
        <p:sp>
          <p:nvSpPr>
            <p:cNvPr id="127" name="Rectangle 126">
              <a:extLst>
                <a:ext uri="{FF2B5EF4-FFF2-40B4-BE49-F238E27FC236}">
                  <a16:creationId xmlns:a16="http://schemas.microsoft.com/office/drawing/2014/main" id="{905FB63B-B40A-4EB6-D057-72BCEF6702CD}"/>
                </a:ext>
              </a:extLst>
            </p:cNvPr>
            <p:cNvSpPr/>
            <p:nvPr/>
          </p:nvSpPr>
          <p:spPr>
            <a:xfrm>
              <a:off x="5465445" y="5337650"/>
              <a:ext cx="2963644" cy="614620"/>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Verdana"/>
                  <a:ea typeface="+mn-ea"/>
                  <a:cs typeface="+mn-cs"/>
                </a:rPr>
                <a:t>Transport &amp; Logistics</a:t>
              </a:r>
            </a:p>
          </p:txBody>
        </p:sp>
        <p:pic>
          <p:nvPicPr>
            <p:cNvPr id="128" name="Picture 127" descr="GS1_Icon_Transport_And_Logistics_RGB_2014-12-17.png">
              <a:extLst>
                <a:ext uri="{FF2B5EF4-FFF2-40B4-BE49-F238E27FC236}">
                  <a16:creationId xmlns:a16="http://schemas.microsoft.com/office/drawing/2014/main" id="{38B90958-6BA9-EB17-CFAC-01B7F7BAAD0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505785" y="4340893"/>
              <a:ext cx="882965" cy="884724"/>
            </a:xfrm>
            <a:prstGeom prst="rect">
              <a:avLst/>
            </a:prstGeom>
          </p:spPr>
        </p:pic>
        <p:sp>
          <p:nvSpPr>
            <p:cNvPr id="129" name="Oval 128">
              <a:extLst>
                <a:ext uri="{FF2B5EF4-FFF2-40B4-BE49-F238E27FC236}">
                  <a16:creationId xmlns:a16="http://schemas.microsoft.com/office/drawing/2014/main" id="{B00F2D3B-190A-3D9E-9FC2-6BD19BBF9886}"/>
                </a:ext>
              </a:extLst>
            </p:cNvPr>
            <p:cNvSpPr/>
            <p:nvPr/>
          </p:nvSpPr>
          <p:spPr>
            <a:xfrm>
              <a:off x="6505786" y="4345354"/>
              <a:ext cx="887992" cy="887991"/>
            </a:xfrm>
            <a:prstGeom prst="ellipse">
              <a:avLst/>
            </a:prstGeom>
            <a:no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454545"/>
                </a:solidFill>
                <a:effectLst/>
                <a:uLnTx/>
                <a:uFillTx/>
                <a:latin typeface="Verdana"/>
                <a:ea typeface="+mn-ea"/>
                <a:cs typeface="+mn-cs"/>
              </a:endParaRPr>
            </a:p>
          </p:txBody>
        </p:sp>
      </p:grpSp>
      <p:cxnSp>
        <p:nvCxnSpPr>
          <p:cNvPr id="130" name="Straight Connector 129">
            <a:extLst>
              <a:ext uri="{FF2B5EF4-FFF2-40B4-BE49-F238E27FC236}">
                <a16:creationId xmlns:a16="http://schemas.microsoft.com/office/drawing/2014/main" id="{30BFF624-CA36-3CF0-74CE-D56F116AF809}"/>
              </a:ext>
            </a:extLst>
          </p:cNvPr>
          <p:cNvCxnSpPr>
            <a:cxnSpLocks/>
          </p:cNvCxnSpPr>
          <p:nvPr/>
        </p:nvCxnSpPr>
        <p:spPr>
          <a:xfrm>
            <a:off x="597638" y="4050301"/>
            <a:ext cx="10996721" cy="0"/>
          </a:xfrm>
          <a:prstGeom prst="line">
            <a:avLst/>
          </a:prstGeom>
          <a:ln>
            <a:solidFill>
              <a:schemeClr val="bg1"/>
            </a:solidFill>
            <a:headEnd type="stealth" w="lg" len="lg"/>
            <a:tailEnd type="stealth" w="lg" len="lg"/>
          </a:ln>
          <a:effectLst/>
        </p:spPr>
        <p:style>
          <a:lnRef idx="2">
            <a:schemeClr val="accent1"/>
          </a:lnRef>
          <a:fillRef idx="0">
            <a:schemeClr val="accent1"/>
          </a:fillRef>
          <a:effectRef idx="1">
            <a:schemeClr val="accent1"/>
          </a:effectRef>
          <a:fontRef idx="minor">
            <a:schemeClr val="tx1"/>
          </a:fontRef>
        </p:style>
      </p:cxnSp>
      <p:sp>
        <p:nvSpPr>
          <p:cNvPr id="131" name="Rectangle 130">
            <a:extLst>
              <a:ext uri="{FF2B5EF4-FFF2-40B4-BE49-F238E27FC236}">
                <a16:creationId xmlns:a16="http://schemas.microsoft.com/office/drawing/2014/main" id="{56D671FE-468E-D018-89AD-87FBFEA57841}"/>
              </a:ext>
            </a:extLst>
          </p:cNvPr>
          <p:cNvSpPr/>
          <p:nvPr/>
        </p:nvSpPr>
        <p:spPr>
          <a:xfrm>
            <a:off x="5490812" y="3896056"/>
            <a:ext cx="1210373" cy="308490"/>
          </a:xfrm>
          <a:prstGeom prst="rect">
            <a:avLst/>
          </a:prstGeom>
          <a:solidFill>
            <a:srgbClr val="002C6C"/>
          </a:solidFill>
          <a:ln w="25400" cap="flat" cmpd="sng" algn="ctr">
            <a:noFill/>
            <a:prstDash val="soli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Verdana"/>
                <a:ea typeface="+mn-ea"/>
                <a:cs typeface="+mn-cs"/>
              </a:rPr>
              <a:t>Transversal</a:t>
            </a:r>
          </a:p>
        </p:txBody>
      </p:sp>
      <p:sp>
        <p:nvSpPr>
          <p:cNvPr id="132" name="Rectangle 131">
            <a:extLst>
              <a:ext uri="{FF2B5EF4-FFF2-40B4-BE49-F238E27FC236}">
                <a16:creationId xmlns:a16="http://schemas.microsoft.com/office/drawing/2014/main" id="{4CB416F1-0D6F-2216-AC26-D8C9FBD4A071}"/>
              </a:ext>
            </a:extLst>
          </p:cNvPr>
          <p:cNvSpPr/>
          <p:nvPr/>
        </p:nvSpPr>
        <p:spPr>
          <a:xfrm>
            <a:off x="492896" y="3056043"/>
            <a:ext cx="1512637" cy="614620"/>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Verdana"/>
                <a:ea typeface="+mn-ea"/>
                <a:cs typeface="+mn-cs"/>
              </a:rPr>
              <a:t>Daily </a:t>
            </a:r>
            <a:br>
              <a:rPr kumimoji="0" lang="en-GB" sz="1400" b="1" i="0" u="none" strike="noStrike" kern="0" cap="none" spc="0" normalizeH="0" baseline="0" noProof="0">
                <a:ln>
                  <a:noFill/>
                </a:ln>
                <a:solidFill>
                  <a:prstClr val="white"/>
                </a:solidFill>
                <a:effectLst/>
                <a:uLnTx/>
                <a:uFillTx/>
                <a:latin typeface="Verdana"/>
                <a:ea typeface="+mn-ea"/>
                <a:cs typeface="+mn-cs"/>
              </a:rPr>
            </a:br>
            <a:r>
              <a:rPr kumimoji="0" lang="en-GB" sz="1400" b="1" i="0" u="none" strike="noStrike" kern="0" cap="none" spc="0" normalizeH="0" baseline="0" noProof="0">
                <a:ln>
                  <a:noFill/>
                </a:ln>
                <a:solidFill>
                  <a:prstClr val="white"/>
                </a:solidFill>
                <a:effectLst/>
                <a:uLnTx/>
                <a:uFillTx/>
                <a:latin typeface="Verdana"/>
                <a:ea typeface="+mn-ea"/>
                <a:cs typeface="+mn-cs"/>
              </a:rPr>
              <a:t>Goods</a:t>
            </a:r>
          </a:p>
        </p:txBody>
      </p:sp>
      <p:sp>
        <p:nvSpPr>
          <p:cNvPr id="133" name="Rectangle 132">
            <a:extLst>
              <a:ext uri="{FF2B5EF4-FFF2-40B4-BE49-F238E27FC236}">
                <a16:creationId xmlns:a16="http://schemas.microsoft.com/office/drawing/2014/main" id="{E4E9DD21-C69D-CE07-948B-43EE5C29A5DF}"/>
              </a:ext>
            </a:extLst>
          </p:cNvPr>
          <p:cNvSpPr/>
          <p:nvPr/>
        </p:nvSpPr>
        <p:spPr>
          <a:xfrm>
            <a:off x="3669086" y="3056043"/>
            <a:ext cx="1512637" cy="614620"/>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Verdana"/>
                <a:ea typeface="+mn-ea"/>
                <a:cs typeface="+mn-cs"/>
              </a:rPr>
              <a:t>Marketplaces</a:t>
            </a:r>
          </a:p>
        </p:txBody>
      </p:sp>
      <p:sp>
        <p:nvSpPr>
          <p:cNvPr id="134" name="Rectangle 133">
            <a:extLst>
              <a:ext uri="{FF2B5EF4-FFF2-40B4-BE49-F238E27FC236}">
                <a16:creationId xmlns:a16="http://schemas.microsoft.com/office/drawing/2014/main" id="{5385F5FA-3601-E65F-82AA-4AC1F19A36F3}"/>
              </a:ext>
            </a:extLst>
          </p:cNvPr>
          <p:cNvSpPr/>
          <p:nvPr/>
        </p:nvSpPr>
        <p:spPr>
          <a:xfrm>
            <a:off x="2080991" y="3056043"/>
            <a:ext cx="1512637" cy="614620"/>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Verdana"/>
                <a:ea typeface="+mn-ea"/>
                <a:cs typeface="+mn-cs"/>
              </a:rPr>
              <a:t>Durable</a:t>
            </a:r>
            <a:br>
              <a:rPr kumimoji="0" lang="en-GB" sz="1400" b="1" i="0" u="none" strike="noStrike" kern="0" cap="none" spc="0" normalizeH="0" baseline="0" noProof="0">
                <a:ln>
                  <a:noFill/>
                </a:ln>
                <a:solidFill>
                  <a:prstClr val="white"/>
                </a:solidFill>
                <a:effectLst/>
                <a:uLnTx/>
                <a:uFillTx/>
                <a:latin typeface="Verdana"/>
                <a:ea typeface="+mn-ea"/>
                <a:cs typeface="+mn-cs"/>
              </a:rPr>
            </a:br>
            <a:r>
              <a:rPr kumimoji="0" lang="en-GB" sz="1400" b="1" i="0" u="none" strike="noStrike" kern="0" cap="none" spc="0" normalizeH="0" baseline="0" noProof="0">
                <a:ln>
                  <a:noFill/>
                </a:ln>
                <a:solidFill>
                  <a:prstClr val="white"/>
                </a:solidFill>
                <a:effectLst/>
                <a:uLnTx/>
                <a:uFillTx/>
                <a:latin typeface="Verdana"/>
                <a:ea typeface="+mn-ea"/>
                <a:cs typeface="+mn-cs"/>
              </a:rPr>
              <a:t>Goods</a:t>
            </a:r>
          </a:p>
        </p:txBody>
      </p:sp>
      <p:grpSp>
        <p:nvGrpSpPr>
          <p:cNvPr id="135" name="Group 134">
            <a:extLst>
              <a:ext uri="{FF2B5EF4-FFF2-40B4-BE49-F238E27FC236}">
                <a16:creationId xmlns:a16="http://schemas.microsoft.com/office/drawing/2014/main" id="{2E345F25-2D7B-0C6D-581E-58EC78F9EF7B}"/>
              </a:ext>
            </a:extLst>
          </p:cNvPr>
          <p:cNvGrpSpPr/>
          <p:nvPr/>
        </p:nvGrpSpPr>
        <p:grpSpPr>
          <a:xfrm>
            <a:off x="8059137" y="2012772"/>
            <a:ext cx="1512637" cy="1657891"/>
            <a:chOff x="8514873" y="2012772"/>
            <a:chExt cx="1512637" cy="1657891"/>
          </a:xfrm>
        </p:grpSpPr>
        <p:grpSp>
          <p:nvGrpSpPr>
            <p:cNvPr id="136" name="Group 135">
              <a:extLst>
                <a:ext uri="{FF2B5EF4-FFF2-40B4-BE49-F238E27FC236}">
                  <a16:creationId xmlns:a16="http://schemas.microsoft.com/office/drawing/2014/main" id="{34947BF1-FC67-52F9-AB58-841167E9E91D}"/>
                </a:ext>
              </a:extLst>
            </p:cNvPr>
            <p:cNvGrpSpPr/>
            <p:nvPr/>
          </p:nvGrpSpPr>
          <p:grpSpPr>
            <a:xfrm>
              <a:off x="8835937" y="2012772"/>
              <a:ext cx="870508" cy="870494"/>
              <a:chOff x="10294379" y="2286085"/>
              <a:chExt cx="870508" cy="870494"/>
            </a:xfrm>
          </p:grpSpPr>
          <p:pic>
            <p:nvPicPr>
              <p:cNvPr id="138" name="Picture 2" descr="rail industry image">
                <a:extLst>
                  <a:ext uri="{FF2B5EF4-FFF2-40B4-BE49-F238E27FC236}">
                    <a16:creationId xmlns:a16="http://schemas.microsoft.com/office/drawing/2014/main" id="{1AF86070-BEDB-A215-9286-ED0D93030F3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94379" y="2286085"/>
                <a:ext cx="870507" cy="870494"/>
              </a:xfrm>
              <a:prstGeom prst="rect">
                <a:avLst/>
              </a:prstGeom>
              <a:noFill/>
              <a:extLst>
                <a:ext uri="{909E8E84-426E-40DD-AFC4-6F175D3DCCD1}">
                  <a14:hiddenFill xmlns:a14="http://schemas.microsoft.com/office/drawing/2010/main">
                    <a:solidFill>
                      <a:srgbClr val="FFFFFF"/>
                    </a:solidFill>
                  </a14:hiddenFill>
                </a:ext>
              </a:extLst>
            </p:spPr>
          </p:pic>
          <p:sp>
            <p:nvSpPr>
              <p:cNvPr id="139" name="Oval 138">
                <a:extLst>
                  <a:ext uri="{FF2B5EF4-FFF2-40B4-BE49-F238E27FC236}">
                    <a16:creationId xmlns:a16="http://schemas.microsoft.com/office/drawing/2014/main" id="{44D4940B-B373-07FE-34FF-EA18D65FEBD2}"/>
                  </a:ext>
                </a:extLst>
              </p:cNvPr>
              <p:cNvSpPr/>
              <p:nvPr/>
            </p:nvSpPr>
            <p:spPr>
              <a:xfrm>
                <a:off x="10294392" y="2286085"/>
                <a:ext cx="870495" cy="870494"/>
              </a:xfrm>
              <a:prstGeom prst="ellipse">
                <a:avLst/>
              </a:prstGeom>
              <a:no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454545"/>
                  </a:solidFill>
                  <a:effectLst/>
                  <a:uLnTx/>
                  <a:uFillTx/>
                  <a:latin typeface="Verdana"/>
                  <a:ea typeface="+mn-ea"/>
                  <a:cs typeface="+mn-cs"/>
                </a:endParaRPr>
              </a:p>
            </p:txBody>
          </p:sp>
        </p:grpSp>
        <p:sp>
          <p:nvSpPr>
            <p:cNvPr id="137" name="Rectangle 136">
              <a:extLst>
                <a:ext uri="{FF2B5EF4-FFF2-40B4-BE49-F238E27FC236}">
                  <a16:creationId xmlns:a16="http://schemas.microsoft.com/office/drawing/2014/main" id="{3C789D5E-FBF9-84F6-AE64-63CA1EE337FB}"/>
                </a:ext>
              </a:extLst>
            </p:cNvPr>
            <p:cNvSpPr/>
            <p:nvPr/>
          </p:nvSpPr>
          <p:spPr>
            <a:xfrm>
              <a:off x="8514873" y="3056043"/>
              <a:ext cx="1512637" cy="614620"/>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Verdana"/>
                  <a:ea typeface="+mn-ea"/>
                  <a:cs typeface="+mn-cs"/>
                </a:rPr>
                <a:t>Rail</a:t>
              </a:r>
            </a:p>
          </p:txBody>
        </p:sp>
      </p:grpSp>
      <p:grpSp>
        <p:nvGrpSpPr>
          <p:cNvPr id="140" name="Group 139">
            <a:extLst>
              <a:ext uri="{FF2B5EF4-FFF2-40B4-BE49-F238E27FC236}">
                <a16:creationId xmlns:a16="http://schemas.microsoft.com/office/drawing/2014/main" id="{D2F11213-A876-3F87-9FB1-A2EC4DA17BD6}"/>
              </a:ext>
            </a:extLst>
          </p:cNvPr>
          <p:cNvGrpSpPr/>
          <p:nvPr/>
        </p:nvGrpSpPr>
        <p:grpSpPr>
          <a:xfrm>
            <a:off x="6962913" y="2012772"/>
            <a:ext cx="1512637" cy="1657891"/>
            <a:chOff x="6926778" y="2012772"/>
            <a:chExt cx="1512637" cy="1657891"/>
          </a:xfrm>
        </p:grpSpPr>
        <p:grpSp>
          <p:nvGrpSpPr>
            <p:cNvPr id="141" name="Group 140">
              <a:extLst>
                <a:ext uri="{FF2B5EF4-FFF2-40B4-BE49-F238E27FC236}">
                  <a16:creationId xmlns:a16="http://schemas.microsoft.com/office/drawing/2014/main" id="{278B36C1-FFB3-97DB-164F-899FD4578706}"/>
                </a:ext>
              </a:extLst>
            </p:cNvPr>
            <p:cNvGrpSpPr/>
            <p:nvPr/>
          </p:nvGrpSpPr>
          <p:grpSpPr>
            <a:xfrm>
              <a:off x="7225907" y="2012772"/>
              <a:ext cx="914378" cy="901577"/>
              <a:chOff x="8847513" y="2286085"/>
              <a:chExt cx="914378" cy="901577"/>
            </a:xfrm>
          </p:grpSpPr>
          <p:pic>
            <p:nvPicPr>
              <p:cNvPr id="143" name="Picture 142">
                <a:extLst>
                  <a:ext uri="{FF2B5EF4-FFF2-40B4-BE49-F238E27FC236}">
                    <a16:creationId xmlns:a16="http://schemas.microsoft.com/office/drawing/2014/main" id="{867FC9B5-3653-9257-608C-6F29488FE0E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47513" y="2286085"/>
                <a:ext cx="870507" cy="870494"/>
              </a:xfrm>
              <a:prstGeom prst="rect">
                <a:avLst/>
              </a:prstGeom>
            </p:spPr>
          </p:pic>
          <p:sp>
            <p:nvSpPr>
              <p:cNvPr id="144" name="Oval 143">
                <a:extLst>
                  <a:ext uri="{FF2B5EF4-FFF2-40B4-BE49-F238E27FC236}">
                    <a16:creationId xmlns:a16="http://schemas.microsoft.com/office/drawing/2014/main" id="{03EF10CB-2811-B947-EDFD-9DEB15AD1B2A}"/>
                  </a:ext>
                </a:extLst>
              </p:cNvPr>
              <p:cNvSpPr/>
              <p:nvPr/>
            </p:nvSpPr>
            <p:spPr>
              <a:xfrm>
                <a:off x="8891396" y="2317168"/>
                <a:ext cx="870495" cy="870494"/>
              </a:xfrm>
              <a:prstGeom prst="ellipse">
                <a:avLst/>
              </a:prstGeom>
              <a:no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454545"/>
                  </a:solidFill>
                  <a:effectLst/>
                  <a:uLnTx/>
                  <a:uFillTx/>
                  <a:latin typeface="Verdana"/>
                  <a:ea typeface="+mn-ea"/>
                  <a:cs typeface="+mn-cs"/>
                </a:endParaRPr>
              </a:p>
            </p:txBody>
          </p:sp>
        </p:grpSp>
        <p:sp>
          <p:nvSpPr>
            <p:cNvPr id="142" name="Rectangle 141">
              <a:extLst>
                <a:ext uri="{FF2B5EF4-FFF2-40B4-BE49-F238E27FC236}">
                  <a16:creationId xmlns:a16="http://schemas.microsoft.com/office/drawing/2014/main" id="{E4D0C75C-2A4D-EEF4-8405-E2DB45AEA6EB}"/>
                </a:ext>
              </a:extLst>
            </p:cNvPr>
            <p:cNvSpPr/>
            <p:nvPr/>
          </p:nvSpPr>
          <p:spPr>
            <a:xfrm>
              <a:off x="6926778" y="3056043"/>
              <a:ext cx="1512637" cy="614620"/>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Verdana"/>
                  <a:ea typeface="+mn-ea"/>
                  <a:cs typeface="+mn-cs"/>
                </a:rPr>
                <a:t>Construction</a:t>
              </a:r>
            </a:p>
          </p:txBody>
        </p:sp>
      </p:grpSp>
      <p:grpSp>
        <p:nvGrpSpPr>
          <p:cNvPr id="145" name="Group 144">
            <a:extLst>
              <a:ext uri="{FF2B5EF4-FFF2-40B4-BE49-F238E27FC236}">
                <a16:creationId xmlns:a16="http://schemas.microsoft.com/office/drawing/2014/main" id="{55EBB57A-C6D1-30DF-A494-1580C6ED9EC8}"/>
              </a:ext>
            </a:extLst>
          </p:cNvPr>
          <p:cNvGrpSpPr/>
          <p:nvPr/>
        </p:nvGrpSpPr>
        <p:grpSpPr>
          <a:xfrm>
            <a:off x="5221587" y="2022587"/>
            <a:ext cx="1512637" cy="1648076"/>
            <a:chOff x="5338683" y="2022587"/>
            <a:chExt cx="1512637" cy="1648076"/>
          </a:xfrm>
        </p:grpSpPr>
        <p:grpSp>
          <p:nvGrpSpPr>
            <p:cNvPr id="146" name="Group 145">
              <a:extLst>
                <a:ext uri="{FF2B5EF4-FFF2-40B4-BE49-F238E27FC236}">
                  <a16:creationId xmlns:a16="http://schemas.microsoft.com/office/drawing/2014/main" id="{DCC1D3E4-B4C1-7806-288D-4A9E62DC3950}"/>
                </a:ext>
              </a:extLst>
            </p:cNvPr>
            <p:cNvGrpSpPr/>
            <p:nvPr/>
          </p:nvGrpSpPr>
          <p:grpSpPr>
            <a:xfrm>
              <a:off x="5659744" y="2022587"/>
              <a:ext cx="870515" cy="870494"/>
              <a:chOff x="4659123" y="2022587"/>
              <a:chExt cx="870515" cy="870494"/>
            </a:xfrm>
          </p:grpSpPr>
          <p:pic>
            <p:nvPicPr>
              <p:cNvPr id="148" name="Picture 147" descr="GS1_Icon_Healthcare_RGB_2014-12-17.png">
                <a:extLst>
                  <a:ext uri="{FF2B5EF4-FFF2-40B4-BE49-F238E27FC236}">
                    <a16:creationId xmlns:a16="http://schemas.microsoft.com/office/drawing/2014/main" id="{FD447B93-269B-D23C-206D-119293BBD83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659123" y="2022587"/>
                <a:ext cx="870514" cy="870494"/>
              </a:xfrm>
              <a:prstGeom prst="rect">
                <a:avLst/>
              </a:prstGeom>
            </p:spPr>
          </p:pic>
          <p:sp>
            <p:nvSpPr>
              <p:cNvPr id="149" name="Oval 148">
                <a:extLst>
                  <a:ext uri="{FF2B5EF4-FFF2-40B4-BE49-F238E27FC236}">
                    <a16:creationId xmlns:a16="http://schemas.microsoft.com/office/drawing/2014/main" id="{B2B4BAD4-C273-0000-6A9C-53A7D0FD6679}"/>
                  </a:ext>
                </a:extLst>
              </p:cNvPr>
              <p:cNvSpPr/>
              <p:nvPr/>
            </p:nvSpPr>
            <p:spPr>
              <a:xfrm>
                <a:off x="4659143" y="2022587"/>
                <a:ext cx="870495" cy="870494"/>
              </a:xfrm>
              <a:prstGeom prst="ellipse">
                <a:avLst/>
              </a:prstGeom>
              <a:no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454545"/>
                  </a:solidFill>
                  <a:effectLst/>
                  <a:uLnTx/>
                  <a:uFillTx/>
                  <a:latin typeface="Verdana"/>
                  <a:ea typeface="+mn-ea"/>
                  <a:cs typeface="+mn-cs"/>
                </a:endParaRPr>
              </a:p>
            </p:txBody>
          </p:sp>
        </p:grpSp>
        <p:sp>
          <p:nvSpPr>
            <p:cNvPr id="147" name="Rectangle 146">
              <a:extLst>
                <a:ext uri="{FF2B5EF4-FFF2-40B4-BE49-F238E27FC236}">
                  <a16:creationId xmlns:a16="http://schemas.microsoft.com/office/drawing/2014/main" id="{E9536CB5-405D-4169-03C4-49DB6CA793A7}"/>
                </a:ext>
              </a:extLst>
            </p:cNvPr>
            <p:cNvSpPr/>
            <p:nvPr/>
          </p:nvSpPr>
          <p:spPr>
            <a:xfrm>
              <a:off x="5338683" y="3056043"/>
              <a:ext cx="1512637" cy="614620"/>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Verdana"/>
                  <a:ea typeface="+mn-ea"/>
                  <a:cs typeface="+mn-cs"/>
                </a:rPr>
                <a:t>Healthcare</a:t>
              </a:r>
            </a:p>
          </p:txBody>
        </p:sp>
      </p:grpSp>
      <p:sp>
        <p:nvSpPr>
          <p:cNvPr id="150" name="Rectangle 149">
            <a:extLst>
              <a:ext uri="{FF2B5EF4-FFF2-40B4-BE49-F238E27FC236}">
                <a16:creationId xmlns:a16="http://schemas.microsoft.com/office/drawing/2014/main" id="{49DC6FF4-D190-4AD8-5F6F-04DF5E4B8A8B}"/>
              </a:ext>
            </a:extLst>
          </p:cNvPr>
          <p:cNvSpPr/>
          <p:nvPr/>
        </p:nvSpPr>
        <p:spPr>
          <a:xfrm>
            <a:off x="10383748" y="3028531"/>
            <a:ext cx="1512637" cy="614620"/>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Verdana"/>
                <a:ea typeface="+mn-ea"/>
                <a:cs typeface="+mn-cs"/>
              </a:rPr>
              <a:t>Agriculture &amp; Upstream</a:t>
            </a:r>
          </a:p>
        </p:txBody>
      </p:sp>
      <p:grpSp>
        <p:nvGrpSpPr>
          <p:cNvPr id="151" name="Group 150">
            <a:extLst>
              <a:ext uri="{FF2B5EF4-FFF2-40B4-BE49-F238E27FC236}">
                <a16:creationId xmlns:a16="http://schemas.microsoft.com/office/drawing/2014/main" id="{6AFB7BE6-7EAC-84DC-4CBD-C29510982B4E}"/>
              </a:ext>
            </a:extLst>
          </p:cNvPr>
          <p:cNvGrpSpPr/>
          <p:nvPr/>
        </p:nvGrpSpPr>
        <p:grpSpPr>
          <a:xfrm>
            <a:off x="10692874" y="2054472"/>
            <a:ext cx="870495" cy="870494"/>
            <a:chOff x="5025739" y="4709469"/>
            <a:chExt cx="870495" cy="870494"/>
          </a:xfrm>
        </p:grpSpPr>
        <p:pic>
          <p:nvPicPr>
            <p:cNvPr id="152" name="Picture 151">
              <a:extLst>
                <a:ext uri="{FF2B5EF4-FFF2-40B4-BE49-F238E27FC236}">
                  <a16:creationId xmlns:a16="http://schemas.microsoft.com/office/drawing/2014/main" id="{67513EF5-66EF-EFA8-1786-1278AFE94546}"/>
                </a:ext>
              </a:extLst>
            </p:cNvPr>
            <p:cNvPicPr>
              <a:picLocks noChangeAspect="1"/>
            </p:cNvPicPr>
            <p:nvPr/>
          </p:nvPicPr>
          <p:blipFill rotWithShape="1">
            <a:blip r:embed="rId13"/>
            <a:srcRect t="283" b="283"/>
            <a:stretch/>
          </p:blipFill>
          <p:spPr>
            <a:xfrm>
              <a:off x="5030667" y="4709469"/>
              <a:ext cx="865567" cy="865567"/>
            </a:xfrm>
            <a:prstGeom prst="rect">
              <a:avLst/>
            </a:prstGeom>
          </p:spPr>
        </p:pic>
        <p:sp>
          <p:nvSpPr>
            <p:cNvPr id="153" name="Oval 152">
              <a:extLst>
                <a:ext uri="{FF2B5EF4-FFF2-40B4-BE49-F238E27FC236}">
                  <a16:creationId xmlns:a16="http://schemas.microsoft.com/office/drawing/2014/main" id="{BEFD33BA-7C02-1D59-EC46-02C24A114CB1}"/>
                </a:ext>
              </a:extLst>
            </p:cNvPr>
            <p:cNvSpPr/>
            <p:nvPr/>
          </p:nvSpPr>
          <p:spPr>
            <a:xfrm>
              <a:off x="5025739" y="4709469"/>
              <a:ext cx="870495" cy="870494"/>
            </a:xfrm>
            <a:prstGeom prst="ellipse">
              <a:avLst/>
            </a:prstGeom>
            <a:no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454545"/>
                </a:solidFill>
                <a:effectLst/>
                <a:uLnTx/>
                <a:uFillTx/>
                <a:latin typeface="Verdana"/>
                <a:ea typeface="+mn-ea"/>
                <a:cs typeface="+mn-cs"/>
              </a:endParaRPr>
            </a:p>
          </p:txBody>
        </p:sp>
      </p:grpSp>
      <p:grpSp>
        <p:nvGrpSpPr>
          <p:cNvPr id="154" name="Group 153">
            <a:extLst>
              <a:ext uri="{FF2B5EF4-FFF2-40B4-BE49-F238E27FC236}">
                <a16:creationId xmlns:a16="http://schemas.microsoft.com/office/drawing/2014/main" id="{B6BD0C36-48CF-9ABF-6CB5-E20781EC4EE1}"/>
              </a:ext>
            </a:extLst>
          </p:cNvPr>
          <p:cNvGrpSpPr/>
          <p:nvPr/>
        </p:nvGrpSpPr>
        <p:grpSpPr>
          <a:xfrm>
            <a:off x="10324535" y="1538985"/>
            <a:ext cx="1637970" cy="215444"/>
            <a:chOff x="4122435" y="1532470"/>
            <a:chExt cx="1943891" cy="215444"/>
          </a:xfrm>
        </p:grpSpPr>
        <p:cxnSp>
          <p:nvCxnSpPr>
            <p:cNvPr id="155" name="Straight Connector 154">
              <a:extLst>
                <a:ext uri="{FF2B5EF4-FFF2-40B4-BE49-F238E27FC236}">
                  <a16:creationId xmlns:a16="http://schemas.microsoft.com/office/drawing/2014/main" id="{E931E1F7-7610-C8AD-5CB1-D17B8B8244A5}"/>
                </a:ext>
              </a:extLst>
            </p:cNvPr>
            <p:cNvCxnSpPr>
              <a:cxnSpLocks/>
            </p:cNvCxnSpPr>
            <p:nvPr/>
          </p:nvCxnSpPr>
          <p:spPr>
            <a:xfrm>
              <a:off x="4122435" y="1631742"/>
              <a:ext cx="1943891"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6" name="Rectangle 155">
              <a:extLst>
                <a:ext uri="{FF2B5EF4-FFF2-40B4-BE49-F238E27FC236}">
                  <a16:creationId xmlns:a16="http://schemas.microsoft.com/office/drawing/2014/main" id="{0D47C684-E622-1AB9-CD08-163273CBCFD5}"/>
                </a:ext>
              </a:extLst>
            </p:cNvPr>
            <p:cNvSpPr/>
            <p:nvPr/>
          </p:nvSpPr>
          <p:spPr>
            <a:xfrm>
              <a:off x="4297575" y="1532470"/>
              <a:ext cx="1585417" cy="215444"/>
            </a:xfrm>
            <a:prstGeom prst="rect">
              <a:avLst/>
            </a:prstGeom>
            <a:solidFill>
              <a:srgbClr val="002C6C"/>
            </a:solidFill>
            <a:ln w="25400" cap="flat" cmpd="sng" algn="ctr">
              <a:noFill/>
              <a:prstDash val="soli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Verdana"/>
                  <a:ea typeface="+mn-ea"/>
                  <a:cs typeface="+mn-cs"/>
                </a:rPr>
                <a:t>Agriculture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Verdana"/>
                  <a:ea typeface="+mn-ea"/>
                  <a:cs typeface="+mn-cs"/>
                </a:rPr>
                <a:t>Upstream</a:t>
              </a:r>
            </a:p>
          </p:txBody>
        </p:sp>
      </p:grpSp>
      <p:sp>
        <p:nvSpPr>
          <p:cNvPr id="3" name="Rectangle 2">
            <a:extLst>
              <a:ext uri="{FF2B5EF4-FFF2-40B4-BE49-F238E27FC236}">
                <a16:creationId xmlns:a16="http://schemas.microsoft.com/office/drawing/2014/main" id="{682494CA-F08C-51B6-DC79-FFA70E79343A}"/>
              </a:ext>
            </a:extLst>
          </p:cNvPr>
          <p:cNvSpPr/>
          <p:nvPr/>
        </p:nvSpPr>
        <p:spPr>
          <a:xfrm>
            <a:off x="9132159" y="3019879"/>
            <a:ext cx="1512637" cy="614620"/>
          </a:xfrm>
          <a:prstGeom prst="rect">
            <a:avLst/>
          </a:prstGeom>
          <a:no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Verdana"/>
                <a:ea typeface="+mn-ea"/>
                <a:cs typeface="+mn-cs"/>
              </a:rPr>
              <a:t>Mining</a:t>
            </a:r>
          </a:p>
        </p:txBody>
      </p:sp>
      <p:sp>
        <p:nvSpPr>
          <p:cNvPr id="5" name="Oval 4">
            <a:extLst>
              <a:ext uri="{FF2B5EF4-FFF2-40B4-BE49-F238E27FC236}">
                <a16:creationId xmlns:a16="http://schemas.microsoft.com/office/drawing/2014/main" id="{3F68FB6C-22D2-C01B-1D88-7AB8E501F3CA}"/>
              </a:ext>
            </a:extLst>
          </p:cNvPr>
          <p:cNvSpPr/>
          <p:nvPr/>
        </p:nvSpPr>
        <p:spPr>
          <a:xfrm>
            <a:off x="9429420" y="2019830"/>
            <a:ext cx="870495" cy="870494"/>
          </a:xfrm>
          <a:prstGeom prst="ellipse">
            <a:avLst/>
          </a:prstGeom>
          <a:noFill/>
          <a:ln w="254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454545"/>
              </a:solidFill>
              <a:effectLst/>
              <a:uLnTx/>
              <a:uFillTx/>
              <a:latin typeface="Verdana"/>
              <a:ea typeface="+mn-ea"/>
              <a:cs typeface="+mn-cs"/>
            </a:endParaRPr>
          </a:p>
        </p:txBody>
      </p:sp>
      <p:pic>
        <p:nvPicPr>
          <p:cNvPr id="2050" name="Picture 2" descr="A preview of asset 2308">
            <a:extLst>
              <a:ext uri="{FF2B5EF4-FFF2-40B4-BE49-F238E27FC236}">
                <a16:creationId xmlns:a16="http://schemas.microsoft.com/office/drawing/2014/main" id="{F8C594C4-8FA0-C2A0-9E55-397176D240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00154" y="2119101"/>
            <a:ext cx="771194" cy="7465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488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4C552-68F5-50D4-58A2-69CEE566975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23448B4-FD2F-C9A0-6400-9B0E75059D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5" progId="TCLayout.ActiveDocument.1">
                  <p:embed/>
                </p:oleObj>
              </mc:Choice>
              <mc:Fallback>
                <p:oleObj name="think-cell Slide" r:id="rId4" imgW="606" imgH="605" progId="TCLayout.ActiveDocument.1">
                  <p:embed/>
                  <p:pic>
                    <p:nvPicPr>
                      <p:cNvPr id="6" name="think-cell data - do not delete" hidden="1">
                        <a:extLst>
                          <a:ext uri="{FF2B5EF4-FFF2-40B4-BE49-F238E27FC236}">
                            <a16:creationId xmlns:a16="http://schemas.microsoft.com/office/drawing/2014/main" id="{A23448B4-FD2F-C9A0-6400-9B0E75059D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C1307FC-77D3-27AE-8F18-6BE4FF617DBA}"/>
              </a:ext>
            </a:extLst>
          </p:cNvPr>
          <p:cNvSpPr>
            <a:spLocks noGrp="1"/>
          </p:cNvSpPr>
          <p:nvPr>
            <p:ph type="sldNum" sz="quarter" idx="12"/>
          </p:nvPr>
        </p:nvSpPr>
        <p:spPr>
          <a:xfrm>
            <a:off x="11263314" y="6346174"/>
            <a:ext cx="330047" cy="2002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72AB7F-E8D0-4874-A9B8-335B68DC5F05}" type="slidenum">
              <a:rPr kumimoji="0" lang="en-GB" sz="933" b="0" i="0" u="none" strike="noStrike" kern="1200" cap="none" spc="0" normalizeH="0" baseline="0" noProof="0">
                <a:ln>
                  <a:noFill/>
                </a:ln>
                <a:solidFill>
                  <a:srgbClr val="454545"/>
                </a:solidFill>
                <a:effectLst/>
                <a:uLnTx/>
                <a:uFillTx/>
                <a:latin typeface="Verdana"/>
                <a:ea typeface="+mn-ea"/>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2" name="Text Placeholder 32">
            <a:extLst>
              <a:ext uri="{FF2B5EF4-FFF2-40B4-BE49-F238E27FC236}">
                <a16:creationId xmlns:a16="http://schemas.microsoft.com/office/drawing/2014/main" id="{E0559E08-0390-DB74-A4BE-BD0888250394}"/>
              </a:ext>
            </a:extLst>
          </p:cNvPr>
          <p:cNvSpPr>
            <a:spLocks noGrp="1"/>
          </p:cNvSpPr>
          <p:nvPr>
            <p:ph type="body" sz="quarter" idx="11"/>
          </p:nvPr>
        </p:nvSpPr>
        <p:spPr>
          <a:xfrm>
            <a:off x="717825" y="585882"/>
            <a:ext cx="10996721" cy="642130"/>
          </a:xfrm>
        </p:spPr>
        <p:txBody>
          <a:bodyPr anchor="ctr"/>
          <a:lstStyle/>
          <a:p>
            <a:pPr algn="ctr">
              <a:lnSpc>
                <a:spcPct val="90000"/>
              </a:lnSpc>
              <a:spcBef>
                <a:spcPct val="0"/>
              </a:spcBef>
              <a:spcAft>
                <a:spcPts val="600"/>
              </a:spcAft>
            </a:pPr>
            <a:r>
              <a:rPr lang="en-GB" sz="2800" b="1">
                <a:ea typeface="+mj-ea"/>
                <a:cs typeface="+mj-cs"/>
              </a:rPr>
              <a:t>Vision 2030: Ambition for Industry</a:t>
            </a:r>
          </a:p>
          <a:p>
            <a:pPr algn="ctr">
              <a:lnSpc>
                <a:spcPct val="90000"/>
              </a:lnSpc>
              <a:spcBef>
                <a:spcPct val="0"/>
              </a:spcBef>
            </a:pPr>
            <a:r>
              <a:rPr lang="en-GB" sz="2800">
                <a:ea typeface="+mj-ea"/>
                <a:cs typeface="+mj-cs"/>
              </a:rPr>
              <a:t>Powering trust in data </a:t>
            </a:r>
          </a:p>
          <a:p>
            <a:pPr algn="ctr">
              <a:lnSpc>
                <a:spcPct val="90000"/>
              </a:lnSpc>
              <a:spcBef>
                <a:spcPct val="0"/>
              </a:spcBef>
            </a:pPr>
            <a:r>
              <a:rPr lang="en-GB" sz="2800">
                <a:ea typeface="+mj-ea"/>
                <a:cs typeface="+mj-cs"/>
              </a:rPr>
              <a:t>for everyone everywhere </a:t>
            </a:r>
          </a:p>
        </p:txBody>
      </p:sp>
      <p:sp>
        <p:nvSpPr>
          <p:cNvPr id="7" name="Rectangle 6">
            <a:extLst>
              <a:ext uri="{FF2B5EF4-FFF2-40B4-BE49-F238E27FC236}">
                <a16:creationId xmlns:a16="http://schemas.microsoft.com/office/drawing/2014/main" id="{A63794CF-340D-12B3-E075-E37E86C2858C}"/>
              </a:ext>
            </a:extLst>
          </p:cNvPr>
          <p:cNvSpPr/>
          <p:nvPr/>
        </p:nvSpPr>
        <p:spPr>
          <a:xfrm>
            <a:off x="9424359" y="4221989"/>
            <a:ext cx="2135422" cy="1908781"/>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lIns="90000" tIns="90000" rIns="90000" bIns="90000" rtlCol="0" anchor="t"/>
          <a:lstStyle/>
          <a:p>
            <a:pPr marL="0" marR="0" lvl="0" indent="0" algn="l" defTabSz="1219020" rtl="0" eaLnBrk="1" fontAlgn="auto" latinLnBrk="0" hangingPunct="1">
              <a:lnSpc>
                <a:spcPct val="100000"/>
              </a:lnSpc>
              <a:spcBef>
                <a:spcPts val="0"/>
              </a:spcBef>
              <a:spcAft>
                <a:spcPts val="160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Companies can comply with sustainability and regulatory needs </a:t>
            </a:r>
            <a:r>
              <a:rPr kumimoji="0" lang="en-US" sz="1200" b="0" i="0" u="none" strike="noStrike" kern="1200" cap="none" spc="0" normalizeH="0" baseline="0" noProof="0">
                <a:ln>
                  <a:noFill/>
                </a:ln>
                <a:solidFill>
                  <a:prstClr val="white"/>
                </a:solidFill>
                <a:effectLst/>
                <a:uLnTx/>
                <a:uFillTx/>
                <a:latin typeface="Verdana"/>
                <a:ea typeface="+mn-ea"/>
                <a:cs typeface="+mn-cs"/>
              </a:rPr>
              <a:t>while supporting the circular economy across global value chains, using GS1 standards and services for efficient product traceability. </a:t>
            </a:r>
            <a:endParaRPr kumimoji="0" lang="en-US" sz="1200" b="1" i="0" u="sng" strike="noStrike" kern="1200" cap="none" spc="0" normalizeH="0" baseline="0" noProof="0">
              <a:ln>
                <a:noFill/>
              </a:ln>
              <a:solidFill>
                <a:prstClr val="white"/>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0BA0993B-FB40-3FE4-451A-2E1FFFEE10ED}"/>
              </a:ext>
            </a:extLst>
          </p:cNvPr>
          <p:cNvSpPr/>
          <p:nvPr/>
        </p:nvSpPr>
        <p:spPr>
          <a:xfrm>
            <a:off x="4993764" y="4221988"/>
            <a:ext cx="2135422" cy="1908781"/>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lIns="90000" tIns="90000" rIns="90000" bIns="90000" rtlCol="0" anchor="t"/>
          <a:lstStyle/>
          <a:p>
            <a:pPr marL="0" marR="0" lvl="0" indent="0" algn="l" defTabSz="1219020" rtl="0" eaLnBrk="1" fontAlgn="auto" latinLnBrk="0" hangingPunct="1">
              <a:lnSpc>
                <a:spcPct val="100000"/>
              </a:lnSpc>
              <a:spcBef>
                <a:spcPts val="0"/>
              </a:spcBef>
              <a:spcAft>
                <a:spcPts val="160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Billions of consumers</a:t>
            </a:r>
            <a:r>
              <a:rPr kumimoji="0" lang="en-US" sz="1200" b="0" i="0" u="none" strike="noStrike" kern="1200" cap="none" spc="0" normalizeH="0" baseline="0" noProof="0">
                <a:ln>
                  <a:noFill/>
                </a:ln>
                <a:solidFill>
                  <a:prstClr val="white"/>
                </a:solidFill>
                <a:effectLst/>
                <a:uLnTx/>
                <a:uFillTx/>
                <a:latin typeface="Verdana"/>
                <a:ea typeface="+mn-ea"/>
                <a:cs typeface="+mn-cs"/>
              </a:rPr>
              <a:t> </a:t>
            </a:r>
            <a:r>
              <a:rPr kumimoji="0" lang="en-US" sz="1200" b="1" i="0" u="none" strike="noStrike" kern="1200" cap="none" spc="0" normalizeH="0" baseline="0" noProof="0">
                <a:ln>
                  <a:noFill/>
                </a:ln>
                <a:solidFill>
                  <a:prstClr val="white"/>
                </a:solidFill>
                <a:effectLst/>
                <a:uLnTx/>
                <a:uFillTx/>
                <a:latin typeface="Verdana"/>
                <a:ea typeface="+mn-ea"/>
                <a:cs typeface="+mn-cs"/>
              </a:rPr>
              <a:t>have instant access to the story</a:t>
            </a:r>
            <a:r>
              <a:rPr kumimoji="0" lang="en-US" sz="1200" b="0" i="0" u="none" strike="noStrike" kern="1200" cap="none" spc="0" normalizeH="0" baseline="0" noProof="0">
                <a:ln>
                  <a:noFill/>
                </a:ln>
                <a:solidFill>
                  <a:prstClr val="white"/>
                </a:solidFill>
                <a:effectLst/>
                <a:uLnTx/>
                <a:uFillTx/>
                <a:latin typeface="Verdana"/>
                <a:ea typeface="+mn-ea"/>
                <a:cs typeface="+mn-cs"/>
              </a:rPr>
              <a:t> behind each product, whether shopping online or scanning a 2D barcode powered by GS1. </a:t>
            </a:r>
          </a:p>
        </p:txBody>
      </p:sp>
      <p:sp>
        <p:nvSpPr>
          <p:cNvPr id="11" name="Rectangle 10">
            <a:extLst>
              <a:ext uri="{FF2B5EF4-FFF2-40B4-BE49-F238E27FC236}">
                <a16:creationId xmlns:a16="http://schemas.microsoft.com/office/drawing/2014/main" id="{ADA6F45F-E0B2-B2B4-558C-56140A746113}"/>
              </a:ext>
            </a:extLst>
          </p:cNvPr>
          <p:cNvSpPr/>
          <p:nvPr/>
        </p:nvSpPr>
        <p:spPr>
          <a:xfrm>
            <a:off x="7209062" y="4221988"/>
            <a:ext cx="2135422" cy="1908781"/>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lIns="90000" tIns="90000" rIns="90000" bIns="90000" rtlCol="0" anchor="t"/>
          <a:lstStyle/>
          <a:p>
            <a:pPr marL="0" marR="0" lvl="0" indent="0" algn="l" defTabSz="1219020" rtl="0" eaLnBrk="1" fontAlgn="auto" latinLnBrk="0" hangingPunct="1">
              <a:lnSpc>
                <a:spcPct val="100000"/>
              </a:lnSpc>
              <a:spcBef>
                <a:spcPts val="0"/>
              </a:spcBef>
              <a:spcAft>
                <a:spcPts val="160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Patients benefit from improved safety and better outcomes </a:t>
            </a:r>
            <a:r>
              <a:rPr kumimoji="0" lang="en-US" sz="1200" b="0" i="0" u="none" strike="noStrike" kern="1200" cap="none" spc="0" normalizeH="0" baseline="0" noProof="0">
                <a:ln>
                  <a:noFill/>
                </a:ln>
                <a:solidFill>
                  <a:prstClr val="white"/>
                </a:solidFill>
                <a:effectLst/>
                <a:uLnTx/>
                <a:uFillTx/>
                <a:latin typeface="Verdana"/>
                <a:ea typeface="+mn-ea"/>
                <a:cs typeface="+mn-cs"/>
              </a:rPr>
              <a:t>as healthcare products carry a 2D barcode, scanned and used at point of care and across the supply chain.</a:t>
            </a:r>
          </a:p>
        </p:txBody>
      </p:sp>
      <p:sp>
        <p:nvSpPr>
          <p:cNvPr id="14" name="Rectangle 13">
            <a:extLst>
              <a:ext uri="{FF2B5EF4-FFF2-40B4-BE49-F238E27FC236}">
                <a16:creationId xmlns:a16="http://schemas.microsoft.com/office/drawing/2014/main" id="{6AE12FF8-778F-4A9A-091D-2D8FE47B8FC1}"/>
              </a:ext>
            </a:extLst>
          </p:cNvPr>
          <p:cNvSpPr/>
          <p:nvPr/>
        </p:nvSpPr>
        <p:spPr>
          <a:xfrm>
            <a:off x="563168" y="4221988"/>
            <a:ext cx="2135422" cy="1908781"/>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lIns="90000" tIns="90000" rIns="90000" bIns="90000" rtlCol="0" anchor="t"/>
          <a:lstStyle/>
          <a:p>
            <a:pPr marL="0" marR="0" lvl="0" indent="0" algn="l" defTabSz="1219020" rtl="0" eaLnBrk="1" fontAlgn="auto" latinLnBrk="0" hangingPunct="1">
              <a:lnSpc>
                <a:spcPct val="100000"/>
              </a:lnSpc>
              <a:spcBef>
                <a:spcPts val="0"/>
              </a:spcBef>
              <a:spcAft>
                <a:spcPts val="160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Verdana"/>
                <a:ea typeface="+mn-ea"/>
                <a:cs typeface="+mn-cs"/>
              </a:rPr>
              <a:t>Companies of all sizes can seamlessly reach markets </a:t>
            </a:r>
            <a:r>
              <a:rPr kumimoji="0" lang="en-GB" sz="1200" b="0" i="0" u="none" strike="noStrike" kern="1200" cap="none" spc="0" normalizeH="0" baseline="0" noProof="0" dirty="0">
                <a:ln>
                  <a:noFill/>
                </a:ln>
                <a:solidFill>
                  <a:prstClr val="white"/>
                </a:solidFill>
                <a:effectLst/>
                <a:uLnTx/>
                <a:uFillTx/>
                <a:latin typeface="Verdana"/>
                <a:ea typeface="+mn-ea"/>
                <a:cs typeface="+mn-cs"/>
              </a:rPr>
              <a:t>and list products globally</a:t>
            </a:r>
            <a:r>
              <a:rPr kumimoji="0" lang="en-US" sz="1200" b="0" i="0" u="none" strike="noStrike" kern="1200" cap="none" spc="0" normalizeH="0" baseline="0" noProof="0" dirty="0">
                <a:ln>
                  <a:noFill/>
                </a:ln>
                <a:solidFill>
                  <a:prstClr val="white"/>
                </a:solidFill>
                <a:effectLst/>
                <a:uLnTx/>
                <a:uFillTx/>
                <a:latin typeface="Verdana"/>
                <a:ea typeface="+mn-ea"/>
                <a:cs typeface="+mn-cs"/>
              </a:rPr>
              <a:t>, relying on trusted GS1 identification, registries and product data standards.</a:t>
            </a:r>
            <a:endParaRPr kumimoji="0" lang="en-US" sz="1200" b="0" i="0" u="none" strike="noStrike" kern="1200" cap="none" spc="0" normalizeH="0" baseline="0" noProof="0" dirty="0">
              <a:ln>
                <a:noFill/>
              </a:ln>
              <a:solidFill>
                <a:srgbClr val="454545"/>
              </a:solidFill>
              <a:effectLst/>
              <a:highlight>
                <a:srgbClr val="FFFF00"/>
              </a:highlight>
              <a:uLnTx/>
              <a:uFillTx/>
              <a:latin typeface="Verdana"/>
              <a:ea typeface="+mn-ea"/>
              <a:cs typeface="+mn-cs"/>
            </a:endParaRPr>
          </a:p>
        </p:txBody>
      </p:sp>
      <p:sp>
        <p:nvSpPr>
          <p:cNvPr id="15" name="Rectangle 14">
            <a:extLst>
              <a:ext uri="{FF2B5EF4-FFF2-40B4-BE49-F238E27FC236}">
                <a16:creationId xmlns:a16="http://schemas.microsoft.com/office/drawing/2014/main" id="{B58B7F9E-ED4F-1789-0D4C-0F96F3EBD7E8}"/>
              </a:ext>
            </a:extLst>
          </p:cNvPr>
          <p:cNvSpPr/>
          <p:nvPr/>
        </p:nvSpPr>
        <p:spPr>
          <a:xfrm>
            <a:off x="2778466" y="4221988"/>
            <a:ext cx="2135422" cy="1908781"/>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lIns="90000" tIns="90000" rIns="90000" bIns="90000" rtlCol="0" anchor="t"/>
          <a:lstStyle/>
          <a:p>
            <a:pPr marL="0" marR="0" lvl="0" indent="0" algn="l" defTabSz="1219020" rtl="0" eaLnBrk="1" fontAlgn="auto" latinLnBrk="0" hangingPunct="1">
              <a:lnSpc>
                <a:spcPct val="100000"/>
              </a:lnSpc>
              <a:spcBef>
                <a:spcPts val="0"/>
              </a:spcBef>
              <a:spcAft>
                <a:spcPts val="160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Businesses enhance supply chain visibility, efficiency and resilience </a:t>
            </a:r>
            <a:r>
              <a:rPr kumimoji="0" lang="en-US" sz="1200" b="0" i="0" u="none" strike="noStrike" kern="1200" cap="none" spc="0" normalizeH="0" baseline="0" noProof="0">
                <a:ln>
                  <a:noFill/>
                </a:ln>
                <a:solidFill>
                  <a:prstClr val="white"/>
                </a:solidFill>
                <a:effectLst/>
                <a:uLnTx/>
                <a:uFillTx/>
                <a:latin typeface="Verdana"/>
                <a:ea typeface="+mn-ea"/>
                <a:cs typeface="+mn-cs"/>
              </a:rPr>
              <a:t>in global trade, leveraging GS1 standards and services to gain</a:t>
            </a:r>
            <a:r>
              <a:rPr kumimoji="0" lang="en-US" sz="1200" b="1" i="0" u="none" strike="noStrike" kern="1200" cap="none" spc="0" normalizeH="0" baseline="0" noProof="0">
                <a:ln>
                  <a:noFill/>
                </a:ln>
                <a:solidFill>
                  <a:prstClr val="white"/>
                </a:solidFill>
                <a:effectLst/>
                <a:uLnTx/>
                <a:uFillTx/>
                <a:latin typeface="Verdana"/>
                <a:ea typeface="+mn-ea"/>
                <a:cs typeface="+mn-cs"/>
              </a:rPr>
              <a:t> </a:t>
            </a:r>
            <a:r>
              <a:rPr kumimoji="0" lang="en-US" sz="1200" b="0" i="0" u="none" strike="noStrike" kern="1200" cap="none" spc="0" normalizeH="0" baseline="0" noProof="0">
                <a:ln>
                  <a:noFill/>
                </a:ln>
                <a:solidFill>
                  <a:prstClr val="white"/>
                </a:solidFill>
                <a:effectLst/>
                <a:uLnTx/>
                <a:uFillTx/>
                <a:latin typeface="Verdana"/>
                <a:ea typeface="+mn-ea"/>
                <a:cs typeface="+mn-cs"/>
              </a:rPr>
              <a:t>instant access to trusted product data. </a:t>
            </a:r>
            <a:endParaRPr kumimoji="0" lang="en-US" sz="1200" b="0" i="0" u="none" strike="noStrike" kern="1200" cap="none" spc="0" normalizeH="0" baseline="0" noProof="0">
              <a:ln>
                <a:noFill/>
              </a:ln>
              <a:solidFill>
                <a:prstClr val="white"/>
              </a:solidFill>
              <a:effectLst/>
              <a:highlight>
                <a:srgbClr val="FFFF00"/>
              </a:highlight>
              <a:uLnTx/>
              <a:uFillTx/>
              <a:latin typeface="Verdana"/>
              <a:ea typeface="+mn-ea"/>
              <a:cs typeface="+mn-cs"/>
            </a:endParaRPr>
          </a:p>
        </p:txBody>
      </p:sp>
      <p:sp>
        <p:nvSpPr>
          <p:cNvPr id="16" name="TextBox 15">
            <a:extLst>
              <a:ext uri="{FF2B5EF4-FFF2-40B4-BE49-F238E27FC236}">
                <a16:creationId xmlns:a16="http://schemas.microsoft.com/office/drawing/2014/main" id="{5B3CF995-6597-3045-E4DD-5D7BC326BB41}"/>
              </a:ext>
            </a:extLst>
          </p:cNvPr>
          <p:cNvSpPr txBox="1"/>
          <p:nvPr/>
        </p:nvSpPr>
        <p:spPr>
          <a:xfrm>
            <a:off x="563168" y="4092094"/>
            <a:ext cx="2135422" cy="47947"/>
          </a:xfrm>
          <a:prstGeom prst="rect">
            <a:avLst/>
          </a:prstGeom>
          <a:solidFill>
            <a:srgbClr val="8A2909"/>
          </a:solidFill>
          <a:ln w="3175">
            <a:noFill/>
            <a:tailEnd type="triangle"/>
          </a:ln>
          <a:effectLst/>
        </p:spPr>
        <p:style>
          <a:lnRef idx="2">
            <a:schemeClr val="accent1"/>
          </a:lnRef>
          <a:fillRef idx="0">
            <a:schemeClr val="accent1"/>
          </a:fillRef>
          <a:effectRef idx="1">
            <a:schemeClr val="accent1"/>
          </a:effectRef>
          <a:fontRef idx="minor">
            <a:schemeClr val="tx1"/>
          </a:fontRef>
        </p:style>
        <p:txBody>
          <a:bodyPr wrap="square" lIns="90000" tIns="46800" rIns="90000" bIns="46800" rtlCol="0" anchor="ctr" anchorCtr="0">
            <a:noAutofit/>
          </a:bodyPr>
          <a:lstStyle>
            <a:defPPr>
              <a:defRPr lang="en-US"/>
            </a:defPPr>
            <a:lvl1pPr algn="ctr" defTabSz="1625318">
              <a:lnSpc>
                <a:spcPct val="90000"/>
              </a:lnSpc>
              <a:spcAft>
                <a:spcPts val="533"/>
              </a:spcAft>
              <a:defRPr sz="1200" i="1">
                <a:solidFill>
                  <a:srgbClr val="FFFFFF"/>
                </a:solidFill>
                <a:latin typeface="Verdana"/>
                <a:ea typeface="Verdana"/>
              </a:defRPr>
            </a:lvl1pPr>
          </a:lstStyle>
          <a:p>
            <a:pPr marL="0" marR="0" lvl="0" indent="0" algn="ctr" defTabSz="1625318" rtl="0" eaLnBrk="1" fontAlgn="auto" latinLnBrk="0" hangingPunct="1">
              <a:lnSpc>
                <a:spcPct val="90000"/>
              </a:lnSpc>
              <a:spcBef>
                <a:spcPts val="0"/>
              </a:spcBef>
              <a:spcAft>
                <a:spcPts val="533"/>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Verdana"/>
              <a:ea typeface="Verdana"/>
              <a:cs typeface="+mn-cs"/>
            </a:endParaRPr>
          </a:p>
        </p:txBody>
      </p:sp>
      <p:sp>
        <p:nvSpPr>
          <p:cNvPr id="17" name="TextBox 16">
            <a:extLst>
              <a:ext uri="{FF2B5EF4-FFF2-40B4-BE49-F238E27FC236}">
                <a16:creationId xmlns:a16="http://schemas.microsoft.com/office/drawing/2014/main" id="{DE36CB54-F5BE-3489-153C-57997D22A4DC}"/>
              </a:ext>
            </a:extLst>
          </p:cNvPr>
          <p:cNvSpPr txBox="1"/>
          <p:nvPr/>
        </p:nvSpPr>
        <p:spPr>
          <a:xfrm>
            <a:off x="4990201" y="4094322"/>
            <a:ext cx="4354284" cy="45719"/>
          </a:xfrm>
          <a:prstGeom prst="rect">
            <a:avLst/>
          </a:prstGeom>
          <a:solidFill>
            <a:srgbClr val="00B6DE"/>
          </a:solidFill>
          <a:ln w="3175">
            <a:noFill/>
            <a:tailEnd type="triangle"/>
          </a:ln>
          <a:effectLst/>
        </p:spPr>
        <p:style>
          <a:lnRef idx="2">
            <a:schemeClr val="accent1"/>
          </a:lnRef>
          <a:fillRef idx="0">
            <a:schemeClr val="accent1"/>
          </a:fillRef>
          <a:effectRef idx="1">
            <a:schemeClr val="accent1"/>
          </a:effectRef>
          <a:fontRef idx="minor">
            <a:schemeClr val="tx1"/>
          </a:fontRef>
        </p:style>
        <p:txBody>
          <a:bodyPr wrap="square" lIns="90000" tIns="46800" rIns="90000" bIns="46800" rtlCol="0" anchor="ctr" anchorCtr="0">
            <a:noAutofit/>
          </a:bodyPr>
          <a:lstStyle>
            <a:defPPr>
              <a:defRPr lang="en-US"/>
            </a:defPPr>
            <a:lvl1pPr algn="ctr" defTabSz="1625318">
              <a:lnSpc>
                <a:spcPct val="90000"/>
              </a:lnSpc>
              <a:spcAft>
                <a:spcPts val="533"/>
              </a:spcAft>
              <a:defRPr sz="1200" i="1">
                <a:solidFill>
                  <a:srgbClr val="FFFFFF"/>
                </a:solidFill>
                <a:latin typeface="Verdana"/>
                <a:ea typeface="Verdana"/>
              </a:defRPr>
            </a:lvl1pPr>
          </a:lstStyle>
          <a:p>
            <a:pPr marL="0" marR="0" lvl="0" indent="0" algn="ctr" defTabSz="1625318" rtl="0" eaLnBrk="1" fontAlgn="auto" latinLnBrk="0" hangingPunct="1">
              <a:lnSpc>
                <a:spcPct val="90000"/>
              </a:lnSpc>
              <a:spcBef>
                <a:spcPts val="0"/>
              </a:spcBef>
              <a:spcAft>
                <a:spcPts val="533"/>
              </a:spcAft>
              <a:buClrTx/>
              <a:buSzTx/>
              <a:buFontTx/>
              <a:buNone/>
              <a:tabLst/>
              <a:defRPr/>
            </a:pPr>
            <a:endParaRPr kumimoji="0" lang="en-GB" sz="1100" b="1" i="0" u="none" strike="noStrike" kern="1200" cap="none" spc="0" normalizeH="0" baseline="0" noProof="0">
              <a:ln>
                <a:noFill/>
              </a:ln>
              <a:solidFill>
                <a:prstClr val="white"/>
              </a:solidFill>
              <a:effectLst/>
              <a:uLnTx/>
              <a:uFillTx/>
              <a:latin typeface="Verdana"/>
              <a:ea typeface="Verdana"/>
              <a:cs typeface="+mn-cs"/>
            </a:endParaRPr>
          </a:p>
        </p:txBody>
      </p:sp>
      <p:sp>
        <p:nvSpPr>
          <p:cNvPr id="18" name="TextBox 17">
            <a:extLst>
              <a:ext uri="{FF2B5EF4-FFF2-40B4-BE49-F238E27FC236}">
                <a16:creationId xmlns:a16="http://schemas.microsoft.com/office/drawing/2014/main" id="{9C940190-F1FA-9BE4-2372-49F497F74199}"/>
              </a:ext>
            </a:extLst>
          </p:cNvPr>
          <p:cNvSpPr txBox="1"/>
          <p:nvPr/>
        </p:nvSpPr>
        <p:spPr>
          <a:xfrm>
            <a:off x="9424359" y="4092094"/>
            <a:ext cx="2135422" cy="47947"/>
          </a:xfrm>
          <a:prstGeom prst="rect">
            <a:avLst/>
          </a:prstGeom>
          <a:solidFill>
            <a:srgbClr val="7AC143"/>
          </a:solidFill>
          <a:ln w="3175">
            <a:noFill/>
            <a:tailEnd type="triangle"/>
          </a:ln>
          <a:effectLst/>
        </p:spPr>
        <p:style>
          <a:lnRef idx="2">
            <a:schemeClr val="accent1"/>
          </a:lnRef>
          <a:fillRef idx="0">
            <a:schemeClr val="accent1"/>
          </a:fillRef>
          <a:effectRef idx="1">
            <a:schemeClr val="accent1"/>
          </a:effectRef>
          <a:fontRef idx="minor">
            <a:schemeClr val="tx1"/>
          </a:fontRef>
        </p:style>
        <p:txBody>
          <a:bodyPr wrap="square" lIns="90000" tIns="46800" rIns="90000" bIns="46800" rtlCol="0" anchor="ctr" anchorCtr="0">
            <a:noAutofit/>
          </a:bodyPr>
          <a:lstStyle>
            <a:defPPr>
              <a:defRPr lang="en-US"/>
            </a:defPPr>
            <a:lvl1pPr algn="ctr" defTabSz="1625318">
              <a:lnSpc>
                <a:spcPct val="90000"/>
              </a:lnSpc>
              <a:spcAft>
                <a:spcPts val="533"/>
              </a:spcAft>
              <a:defRPr sz="1200" i="1">
                <a:solidFill>
                  <a:srgbClr val="FFFFFF"/>
                </a:solidFill>
                <a:latin typeface="Verdana"/>
                <a:ea typeface="Verdana"/>
              </a:defRPr>
            </a:lvl1pPr>
          </a:lstStyle>
          <a:p>
            <a:pPr marL="0" marR="0" lvl="0" indent="0" algn="ctr" defTabSz="1625318" rtl="0" eaLnBrk="1" fontAlgn="auto" latinLnBrk="0" hangingPunct="1">
              <a:lnSpc>
                <a:spcPct val="90000"/>
              </a:lnSpc>
              <a:spcBef>
                <a:spcPts val="0"/>
              </a:spcBef>
              <a:spcAft>
                <a:spcPts val="533"/>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Verdana"/>
              <a:ea typeface="Verdana"/>
              <a:cs typeface="+mn-cs"/>
            </a:endParaRPr>
          </a:p>
        </p:txBody>
      </p:sp>
      <p:sp>
        <p:nvSpPr>
          <p:cNvPr id="19" name="TextBox 18">
            <a:extLst>
              <a:ext uri="{FF2B5EF4-FFF2-40B4-BE49-F238E27FC236}">
                <a16:creationId xmlns:a16="http://schemas.microsoft.com/office/drawing/2014/main" id="{4B9384C7-3C8C-FEE2-FE2B-10C0B3D2E63E}"/>
              </a:ext>
            </a:extLst>
          </p:cNvPr>
          <p:cNvSpPr txBox="1"/>
          <p:nvPr/>
        </p:nvSpPr>
        <p:spPr>
          <a:xfrm>
            <a:off x="2778466" y="4092094"/>
            <a:ext cx="2135422" cy="47947"/>
          </a:xfrm>
          <a:prstGeom prst="rect">
            <a:avLst/>
          </a:prstGeom>
          <a:solidFill>
            <a:srgbClr val="FBB034"/>
          </a:solidFill>
          <a:ln w="3175">
            <a:noFill/>
            <a:tailEnd type="triangle"/>
          </a:ln>
          <a:effectLst/>
        </p:spPr>
        <p:style>
          <a:lnRef idx="2">
            <a:schemeClr val="accent1"/>
          </a:lnRef>
          <a:fillRef idx="0">
            <a:schemeClr val="accent1"/>
          </a:fillRef>
          <a:effectRef idx="1">
            <a:schemeClr val="accent1"/>
          </a:effectRef>
          <a:fontRef idx="minor">
            <a:schemeClr val="tx1"/>
          </a:fontRef>
        </p:style>
        <p:txBody>
          <a:bodyPr wrap="square" lIns="90000" tIns="46800" rIns="90000" bIns="46800" rtlCol="0" anchor="ctr" anchorCtr="0">
            <a:noAutofit/>
          </a:bodyPr>
          <a:lstStyle>
            <a:defPPr>
              <a:defRPr lang="en-US"/>
            </a:defPPr>
            <a:lvl1pPr algn="ctr" defTabSz="1625318">
              <a:lnSpc>
                <a:spcPct val="90000"/>
              </a:lnSpc>
              <a:spcAft>
                <a:spcPts val="533"/>
              </a:spcAft>
              <a:defRPr sz="1200" i="1">
                <a:solidFill>
                  <a:srgbClr val="FFFFFF"/>
                </a:solidFill>
                <a:latin typeface="Verdana"/>
                <a:ea typeface="Verdana"/>
              </a:defRPr>
            </a:lvl1pPr>
          </a:lstStyle>
          <a:p>
            <a:pPr marL="0" marR="0" lvl="0" indent="0" algn="ctr" defTabSz="1625318" rtl="0" eaLnBrk="1" fontAlgn="auto" latinLnBrk="0" hangingPunct="1">
              <a:lnSpc>
                <a:spcPct val="90000"/>
              </a:lnSpc>
              <a:spcBef>
                <a:spcPts val="0"/>
              </a:spcBef>
              <a:spcAft>
                <a:spcPts val="533"/>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Verdana"/>
              <a:ea typeface="Verdana"/>
              <a:cs typeface="+mn-cs"/>
            </a:endParaRPr>
          </a:p>
        </p:txBody>
      </p:sp>
      <p:pic>
        <p:nvPicPr>
          <p:cNvPr id="20" name="Picture 2" descr="aerial photo of cargo crates">
            <a:extLst>
              <a:ext uri="{FF2B5EF4-FFF2-40B4-BE49-F238E27FC236}">
                <a16:creationId xmlns:a16="http://schemas.microsoft.com/office/drawing/2014/main" id="{B32F5570-4835-CEE9-7C68-BA426796F5A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855" r="18701"/>
          <a:stretch/>
        </p:blipFill>
        <p:spPr bwMode="auto">
          <a:xfrm>
            <a:off x="3012732" y="1838831"/>
            <a:ext cx="1666875" cy="1600200"/>
          </a:xfrm>
          <a:prstGeom prst="ellipse">
            <a:avLst/>
          </a:prstGeom>
          <a:extLst>
            <a:ext uri="{909E8E84-426E-40DD-AFC4-6F175D3DCCD1}">
              <a14:hiddenFill xmlns:a14="http://schemas.microsoft.com/office/drawing/2010/main">
                <a:solidFill>
                  <a:srgbClr val="FFFFFF"/>
                </a:solidFill>
              </a14:hiddenFill>
            </a:ext>
          </a:extLst>
        </p:spPr>
      </p:pic>
      <p:pic>
        <p:nvPicPr>
          <p:cNvPr id="21" name="Picture 2">
            <a:extLst>
              <a:ext uri="{FF2B5EF4-FFF2-40B4-BE49-F238E27FC236}">
                <a16:creationId xmlns:a16="http://schemas.microsoft.com/office/drawing/2014/main" id="{B6042966-B8D4-1E16-E718-2C5828014A5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5600" r="10179"/>
          <a:stretch/>
        </p:blipFill>
        <p:spPr bwMode="auto">
          <a:xfrm>
            <a:off x="9564894" y="1838831"/>
            <a:ext cx="1666875" cy="1600200"/>
          </a:xfrm>
          <a:prstGeom prst="ellipse">
            <a:avLst/>
          </a:prstGeom>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7DE4F2D6-D59E-8837-E569-0CF7954D712A}"/>
              </a:ext>
            </a:extLst>
          </p:cNvPr>
          <p:cNvSpPr txBox="1"/>
          <p:nvPr/>
        </p:nvSpPr>
        <p:spPr>
          <a:xfrm>
            <a:off x="2778466" y="3551303"/>
            <a:ext cx="2131858" cy="548640"/>
          </a:xfrm>
          <a:prstGeom prst="rect">
            <a:avLst/>
          </a:prstGeom>
          <a:noFill/>
          <a:ln w="3175">
            <a:noFill/>
            <a:tailEnd type="triangle"/>
          </a:ln>
          <a:effectLst/>
        </p:spPr>
        <p:style>
          <a:lnRef idx="2">
            <a:schemeClr val="accent1"/>
          </a:lnRef>
          <a:fillRef idx="0">
            <a:schemeClr val="accent1"/>
          </a:fillRef>
          <a:effectRef idx="1">
            <a:schemeClr val="accent1"/>
          </a:effectRef>
          <a:fontRef idx="minor">
            <a:schemeClr val="tx1"/>
          </a:fontRef>
        </p:style>
        <p:txBody>
          <a:bodyPr wrap="square" lIns="90000" tIns="46800" rIns="90000" bIns="111600" rtlCol="0" anchor="ctr" anchorCtr="0">
            <a:noAutofit/>
          </a:bodyPr>
          <a:lstStyle>
            <a:defPPr>
              <a:defRPr lang="en-US"/>
            </a:defPPr>
            <a:lvl1pPr algn="ctr" defTabSz="1625318">
              <a:lnSpc>
                <a:spcPct val="90000"/>
              </a:lnSpc>
              <a:spcAft>
                <a:spcPts val="533"/>
              </a:spcAft>
              <a:defRPr sz="1200" i="1">
                <a:solidFill>
                  <a:srgbClr val="FFFFFF"/>
                </a:solidFill>
                <a:latin typeface="Verdana"/>
                <a:ea typeface="Verdana"/>
              </a:defRPr>
            </a:lvl1pPr>
          </a:lstStyle>
          <a:p>
            <a:pPr marL="0" marR="0" lvl="0" indent="0" algn="ctr" defTabSz="1625318" rtl="0" eaLnBrk="1" fontAlgn="auto" latinLnBrk="0" hangingPunct="1">
              <a:lnSpc>
                <a:spcPct val="90000"/>
              </a:lnSpc>
              <a:spcBef>
                <a:spcPts val="0"/>
              </a:spcBef>
              <a:spcAft>
                <a:spcPts val="533"/>
              </a:spcAft>
              <a:buClrTx/>
              <a:buSzTx/>
              <a:buFontTx/>
              <a:buNone/>
              <a:tabLst/>
              <a:defRPr/>
            </a:pPr>
            <a:r>
              <a:rPr kumimoji="0" lang="en-GB" sz="1200" b="1" i="0" u="none" strike="noStrike" kern="1200" cap="none" spc="0" normalizeH="0" baseline="0" noProof="0">
                <a:ln>
                  <a:noFill/>
                </a:ln>
                <a:solidFill>
                  <a:prstClr val="white"/>
                </a:solidFill>
                <a:effectLst/>
                <a:uLnTx/>
                <a:uFillTx/>
                <a:latin typeface="Verdana"/>
                <a:ea typeface="Verdana"/>
                <a:cs typeface="+mn-cs"/>
              </a:rPr>
              <a:t>Operational efficiency </a:t>
            </a:r>
            <a:r>
              <a:rPr kumimoji="0" lang="en-GB" sz="1200" b="0" i="0" u="none" strike="noStrike" kern="1200" cap="none" spc="0" normalizeH="0" baseline="0" noProof="0">
                <a:ln>
                  <a:noFill/>
                </a:ln>
                <a:solidFill>
                  <a:prstClr val="white"/>
                </a:solidFill>
                <a:effectLst/>
                <a:uLnTx/>
                <a:uFillTx/>
                <a:latin typeface="Verdana"/>
                <a:ea typeface="Verdana"/>
                <a:cs typeface="+mn-cs"/>
              </a:rPr>
              <a:t>across </a:t>
            </a:r>
            <a:r>
              <a:rPr kumimoji="0" lang="en-GB" sz="1200" b="1" i="0" u="none" strike="noStrike" kern="1200" cap="none" spc="0" normalizeH="0" baseline="0" noProof="0">
                <a:ln>
                  <a:noFill/>
                </a:ln>
                <a:solidFill>
                  <a:prstClr val="white"/>
                </a:solidFill>
                <a:effectLst/>
                <a:uLnTx/>
                <a:uFillTx/>
                <a:latin typeface="Verdana"/>
                <a:ea typeface="Verdana"/>
                <a:cs typeface="+mn-cs"/>
              </a:rPr>
              <a:t>supply chain</a:t>
            </a:r>
          </a:p>
        </p:txBody>
      </p:sp>
      <p:sp>
        <p:nvSpPr>
          <p:cNvPr id="23" name="TextBox 22">
            <a:extLst>
              <a:ext uri="{FF2B5EF4-FFF2-40B4-BE49-F238E27FC236}">
                <a16:creationId xmlns:a16="http://schemas.microsoft.com/office/drawing/2014/main" id="{0D1836E9-37CA-C158-BF84-52093BF9FBCF}"/>
              </a:ext>
            </a:extLst>
          </p:cNvPr>
          <p:cNvSpPr txBox="1"/>
          <p:nvPr/>
        </p:nvSpPr>
        <p:spPr>
          <a:xfrm>
            <a:off x="9625088" y="3551303"/>
            <a:ext cx="1733963" cy="548640"/>
          </a:xfrm>
          <a:prstGeom prst="rect">
            <a:avLst/>
          </a:prstGeom>
          <a:noFill/>
          <a:ln w="3175">
            <a:noFill/>
            <a:tailEnd type="triangle"/>
          </a:ln>
          <a:effectLst/>
        </p:spPr>
        <p:style>
          <a:lnRef idx="2">
            <a:schemeClr val="accent1"/>
          </a:lnRef>
          <a:fillRef idx="0">
            <a:schemeClr val="accent1"/>
          </a:fillRef>
          <a:effectRef idx="1">
            <a:schemeClr val="accent1"/>
          </a:effectRef>
          <a:fontRef idx="minor">
            <a:schemeClr val="tx1"/>
          </a:fontRef>
        </p:style>
        <p:txBody>
          <a:bodyPr wrap="square" lIns="90000" tIns="46800" rIns="90000" bIns="111600" rtlCol="0" anchor="ctr" anchorCtr="0">
            <a:noAutofit/>
          </a:bodyPr>
          <a:lstStyle>
            <a:defPPr>
              <a:defRPr lang="en-US"/>
            </a:defPPr>
            <a:lvl1pPr algn="ctr" defTabSz="1625318">
              <a:lnSpc>
                <a:spcPct val="90000"/>
              </a:lnSpc>
              <a:spcAft>
                <a:spcPts val="533"/>
              </a:spcAft>
              <a:defRPr sz="1200" i="1">
                <a:solidFill>
                  <a:srgbClr val="FFFFFF"/>
                </a:solidFill>
                <a:latin typeface="Verdana"/>
                <a:ea typeface="Verdana"/>
              </a:defRPr>
            </a:lvl1pPr>
          </a:lstStyle>
          <a:p>
            <a:pPr marL="0" marR="0" lvl="0" indent="0" algn="ctr" defTabSz="1625318" rtl="0" eaLnBrk="1" fontAlgn="auto" latinLnBrk="0" hangingPunct="1">
              <a:lnSpc>
                <a:spcPct val="90000"/>
              </a:lnSpc>
              <a:spcBef>
                <a:spcPts val="0"/>
              </a:spcBef>
              <a:spcAft>
                <a:spcPts val="533"/>
              </a:spcAft>
              <a:buClrTx/>
              <a:buSzTx/>
              <a:buFontTx/>
              <a:buNone/>
              <a:tabLst/>
              <a:defRPr/>
            </a:pPr>
            <a:r>
              <a:rPr kumimoji="0" lang="en-GB" sz="1200" b="1" i="0" u="none" strike="noStrike" kern="1200" cap="none" spc="0" normalizeH="0" baseline="0" noProof="0">
                <a:ln>
                  <a:noFill/>
                </a:ln>
                <a:solidFill>
                  <a:srgbClr val="FFFFFF"/>
                </a:solidFill>
                <a:effectLst/>
                <a:uLnTx/>
                <a:uFillTx/>
                <a:latin typeface="Verdana"/>
                <a:ea typeface="Verdana"/>
                <a:cs typeface="+mn-cs"/>
              </a:rPr>
              <a:t>Sustainability </a:t>
            </a:r>
            <a:r>
              <a:rPr kumimoji="0" lang="en-GB" sz="1200" b="0" i="0" u="none" strike="noStrike" kern="1200" cap="none" spc="0" normalizeH="0" baseline="0" noProof="0">
                <a:ln>
                  <a:noFill/>
                </a:ln>
                <a:solidFill>
                  <a:srgbClr val="FFFFFF"/>
                </a:solidFill>
                <a:effectLst/>
                <a:uLnTx/>
                <a:uFillTx/>
                <a:latin typeface="Verdana"/>
                <a:ea typeface="Verdana"/>
                <a:cs typeface="+mn-cs"/>
              </a:rPr>
              <a:t>and </a:t>
            </a:r>
            <a:r>
              <a:rPr kumimoji="0" lang="en-GB" sz="1200" b="1" i="0" u="none" strike="noStrike" kern="1200" cap="none" spc="0" normalizeH="0" baseline="0" noProof="0">
                <a:ln>
                  <a:noFill/>
                </a:ln>
                <a:solidFill>
                  <a:srgbClr val="FFFFFF"/>
                </a:solidFill>
                <a:effectLst/>
                <a:uLnTx/>
                <a:uFillTx/>
                <a:latin typeface="Verdana"/>
                <a:ea typeface="Verdana"/>
                <a:cs typeface="+mn-cs"/>
              </a:rPr>
              <a:t>circular economy</a:t>
            </a:r>
          </a:p>
        </p:txBody>
      </p:sp>
      <p:sp>
        <p:nvSpPr>
          <p:cNvPr id="24" name="TextBox 23">
            <a:extLst>
              <a:ext uri="{FF2B5EF4-FFF2-40B4-BE49-F238E27FC236}">
                <a16:creationId xmlns:a16="http://schemas.microsoft.com/office/drawing/2014/main" id="{DB50E2E9-4A91-B23A-0417-8DF0EB7164D4}"/>
              </a:ext>
            </a:extLst>
          </p:cNvPr>
          <p:cNvSpPr txBox="1"/>
          <p:nvPr/>
        </p:nvSpPr>
        <p:spPr>
          <a:xfrm>
            <a:off x="4990200" y="3551303"/>
            <a:ext cx="4354283" cy="548640"/>
          </a:xfrm>
          <a:prstGeom prst="rect">
            <a:avLst/>
          </a:prstGeom>
          <a:noFill/>
          <a:ln w="3175">
            <a:noFill/>
            <a:tailEnd type="triangle"/>
          </a:ln>
          <a:effectLst/>
        </p:spPr>
        <p:style>
          <a:lnRef idx="2">
            <a:schemeClr val="accent1"/>
          </a:lnRef>
          <a:fillRef idx="0">
            <a:schemeClr val="accent1"/>
          </a:fillRef>
          <a:effectRef idx="1">
            <a:schemeClr val="accent1"/>
          </a:effectRef>
          <a:fontRef idx="minor">
            <a:schemeClr val="tx1"/>
          </a:fontRef>
        </p:style>
        <p:txBody>
          <a:bodyPr wrap="square" lIns="90000" tIns="46800" rIns="90000" bIns="111600" rtlCol="0" anchor="ctr" anchorCtr="0">
            <a:noAutofit/>
          </a:bodyPr>
          <a:lstStyle>
            <a:defPPr>
              <a:defRPr lang="en-US"/>
            </a:defPPr>
            <a:lvl1pPr algn="ctr" defTabSz="1625318">
              <a:lnSpc>
                <a:spcPct val="90000"/>
              </a:lnSpc>
              <a:spcAft>
                <a:spcPts val="533"/>
              </a:spcAft>
              <a:defRPr sz="1200" i="1">
                <a:solidFill>
                  <a:srgbClr val="FFFFFF"/>
                </a:solidFill>
                <a:latin typeface="Verdana"/>
                <a:ea typeface="Verdana"/>
              </a:defRPr>
            </a:lvl1pPr>
          </a:lstStyle>
          <a:p>
            <a:pPr marL="0" marR="0" lvl="0" indent="0" algn="ctr" defTabSz="1625318" rtl="0" eaLnBrk="1" fontAlgn="auto" latinLnBrk="0" hangingPunct="1">
              <a:lnSpc>
                <a:spcPct val="90000"/>
              </a:lnSpc>
              <a:spcBef>
                <a:spcPts val="0"/>
              </a:spcBef>
              <a:spcAft>
                <a:spcPts val="533"/>
              </a:spcAft>
              <a:buClrTx/>
              <a:buSzTx/>
              <a:buFontTx/>
              <a:buNone/>
              <a:tabLst/>
              <a:defRPr/>
            </a:pPr>
            <a:r>
              <a:rPr kumimoji="0" lang="en-GB" sz="1200" b="1" i="0" u="none" strike="noStrike" kern="1200" cap="none" spc="0" normalizeH="0" baseline="0" noProof="0">
                <a:ln>
                  <a:noFill/>
                </a:ln>
                <a:solidFill>
                  <a:prstClr val="white"/>
                </a:solidFill>
                <a:effectLst/>
                <a:uLnTx/>
                <a:uFillTx/>
                <a:latin typeface="Verdana"/>
                <a:ea typeface="Verdana"/>
                <a:cs typeface="+mn-cs"/>
              </a:rPr>
              <a:t>Consumer experience and Patient safety</a:t>
            </a:r>
          </a:p>
        </p:txBody>
      </p:sp>
      <p:sp>
        <p:nvSpPr>
          <p:cNvPr id="25" name="TextBox 24">
            <a:extLst>
              <a:ext uri="{FF2B5EF4-FFF2-40B4-BE49-F238E27FC236}">
                <a16:creationId xmlns:a16="http://schemas.microsoft.com/office/drawing/2014/main" id="{3C967C1B-AAF9-A27E-1C37-599CC187ED0E}"/>
              </a:ext>
            </a:extLst>
          </p:cNvPr>
          <p:cNvSpPr txBox="1"/>
          <p:nvPr/>
        </p:nvSpPr>
        <p:spPr>
          <a:xfrm>
            <a:off x="579536" y="3551303"/>
            <a:ext cx="2131859" cy="548640"/>
          </a:xfrm>
          <a:prstGeom prst="rect">
            <a:avLst/>
          </a:prstGeom>
          <a:noFill/>
          <a:ln w="3175">
            <a:noFill/>
            <a:tailEnd type="triangle"/>
          </a:ln>
          <a:effectLst/>
        </p:spPr>
        <p:style>
          <a:lnRef idx="2">
            <a:schemeClr val="accent1"/>
          </a:lnRef>
          <a:fillRef idx="0">
            <a:schemeClr val="accent1"/>
          </a:fillRef>
          <a:effectRef idx="1">
            <a:schemeClr val="accent1"/>
          </a:effectRef>
          <a:fontRef idx="minor">
            <a:schemeClr val="tx1"/>
          </a:fontRef>
        </p:style>
        <p:txBody>
          <a:bodyPr wrap="square" lIns="90000" tIns="46800" rIns="90000" bIns="111600" rtlCol="0" anchor="ctr" anchorCtr="0">
            <a:noAutofit/>
          </a:bodyPr>
          <a:lstStyle>
            <a:defPPr>
              <a:defRPr lang="en-US"/>
            </a:defPPr>
            <a:lvl1pPr algn="ctr" defTabSz="1625318">
              <a:lnSpc>
                <a:spcPct val="90000"/>
              </a:lnSpc>
              <a:spcAft>
                <a:spcPts val="533"/>
              </a:spcAft>
              <a:defRPr sz="1200" i="1">
                <a:solidFill>
                  <a:srgbClr val="FFFFFF"/>
                </a:solidFill>
                <a:latin typeface="Verdana"/>
                <a:ea typeface="Verdana"/>
              </a:defRPr>
            </a:lvl1pPr>
          </a:lstStyle>
          <a:p>
            <a:pPr marL="0" marR="0" lvl="0" indent="0" algn="ctr" defTabSz="1625318" rtl="0" eaLnBrk="1" fontAlgn="auto" latinLnBrk="0" hangingPunct="1">
              <a:lnSpc>
                <a:spcPct val="90000"/>
              </a:lnSpc>
              <a:spcBef>
                <a:spcPts val="0"/>
              </a:spcBef>
              <a:spcAft>
                <a:spcPts val="533"/>
              </a:spcAft>
              <a:buClrTx/>
              <a:buSzTx/>
              <a:buFontTx/>
              <a:buNone/>
              <a:tabLst/>
              <a:defRPr/>
            </a:pPr>
            <a:r>
              <a:rPr kumimoji="0" lang="en-GB" sz="1200" b="1" i="0" u="none" strike="noStrike" kern="1200" cap="none" spc="0" normalizeH="0" baseline="0" noProof="0">
                <a:ln>
                  <a:noFill/>
                </a:ln>
                <a:solidFill>
                  <a:srgbClr val="FFFFFF"/>
                </a:solidFill>
                <a:effectLst/>
                <a:uLnTx/>
                <a:uFillTx/>
                <a:latin typeface="Verdana"/>
                <a:ea typeface="Verdana"/>
                <a:cs typeface="+mn-cs"/>
              </a:rPr>
              <a:t>Market access </a:t>
            </a:r>
            <a:r>
              <a:rPr kumimoji="0" lang="en-GB" sz="1200" b="0" i="0" u="none" strike="noStrike" kern="1200" cap="none" spc="0" normalizeH="0" baseline="0" noProof="0">
                <a:ln>
                  <a:noFill/>
                </a:ln>
                <a:solidFill>
                  <a:srgbClr val="FFFFFF"/>
                </a:solidFill>
                <a:effectLst/>
                <a:uLnTx/>
                <a:uFillTx/>
                <a:latin typeface="Verdana"/>
                <a:ea typeface="Verdana"/>
                <a:cs typeface="+mn-cs"/>
              </a:rPr>
              <a:t>and </a:t>
            </a:r>
            <a:br>
              <a:rPr kumimoji="0" lang="en-GB" sz="1200" b="0" i="0" u="none" strike="noStrike" kern="1200" cap="none" spc="0" normalizeH="0" baseline="0" noProof="0">
                <a:ln>
                  <a:noFill/>
                </a:ln>
                <a:solidFill>
                  <a:srgbClr val="FFFFFF"/>
                </a:solidFill>
                <a:effectLst/>
                <a:uLnTx/>
                <a:uFillTx/>
                <a:latin typeface="Verdana"/>
                <a:ea typeface="Verdana"/>
                <a:cs typeface="+mn-cs"/>
              </a:rPr>
            </a:br>
            <a:r>
              <a:rPr kumimoji="0" lang="en-GB" sz="1200" b="1" i="0" u="none" strike="noStrike" kern="1200" cap="none" spc="0" normalizeH="0" baseline="0" noProof="0">
                <a:ln>
                  <a:noFill/>
                </a:ln>
                <a:solidFill>
                  <a:srgbClr val="FFFFFF"/>
                </a:solidFill>
                <a:effectLst/>
                <a:uLnTx/>
                <a:uFillTx/>
                <a:latin typeface="Verdana"/>
                <a:ea typeface="Verdana"/>
                <a:cs typeface="+mn-cs"/>
              </a:rPr>
              <a:t>product listing</a:t>
            </a:r>
          </a:p>
        </p:txBody>
      </p:sp>
      <p:pic>
        <p:nvPicPr>
          <p:cNvPr id="28" name="Picture 6" descr="A person sitting on a red couch looking at a tablet&#10;&#10;Description automatically generated with medium confidence">
            <a:extLst>
              <a:ext uri="{FF2B5EF4-FFF2-40B4-BE49-F238E27FC236}">
                <a16:creationId xmlns:a16="http://schemas.microsoft.com/office/drawing/2014/main" id="{78B0581B-B590-1928-5F79-63B38EEABE7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7343" y="1838831"/>
            <a:ext cx="1600200" cy="1600200"/>
          </a:xfrm>
          <a:prstGeom prst="ellipse">
            <a:avLst/>
          </a:prstGeom>
          <a:extLst>
            <a:ext uri="{909E8E84-426E-40DD-AFC4-6F175D3DCCD1}">
              <a14:hiddenFill xmlns:a14="http://schemas.microsoft.com/office/drawing/2010/main">
                <a:solidFill>
                  <a:srgbClr val="FFFFFF"/>
                </a:solidFill>
              </a14:hiddenFill>
            </a:ext>
          </a:extLst>
        </p:spPr>
      </p:pic>
      <p:pic>
        <p:nvPicPr>
          <p:cNvPr id="29" name="Picture 8">
            <a:extLst>
              <a:ext uri="{FF2B5EF4-FFF2-40B4-BE49-F238E27FC236}">
                <a16:creationId xmlns:a16="http://schemas.microsoft.com/office/drawing/2014/main" id="{D22566E4-CBF4-090A-DFBF-F46D658CF69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354"/>
          <a:stretch/>
        </p:blipFill>
        <p:spPr bwMode="auto">
          <a:xfrm>
            <a:off x="5159163" y="1838831"/>
            <a:ext cx="1666635" cy="1600200"/>
          </a:xfrm>
          <a:prstGeom prst="ellipse">
            <a:avLst/>
          </a:prstGeom>
          <a:extLst>
            <a:ext uri="{909E8E84-426E-40DD-AFC4-6F175D3DCCD1}">
              <a14:hiddenFill xmlns:a14="http://schemas.microsoft.com/office/drawing/2010/main">
                <a:solidFill>
                  <a:srgbClr val="FFFFFF"/>
                </a:solidFill>
              </a14:hiddenFill>
            </a:ext>
          </a:extLst>
        </p:spPr>
      </p:pic>
      <p:pic>
        <p:nvPicPr>
          <p:cNvPr id="30" name="Picture 10" descr="A picture containing person">
            <a:extLst>
              <a:ext uri="{FF2B5EF4-FFF2-40B4-BE49-F238E27FC236}">
                <a16:creationId xmlns:a16="http://schemas.microsoft.com/office/drawing/2014/main" id="{9833722D-0B1F-DD75-00DA-6E0233A5CBC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941" r="1746" b="4007"/>
          <a:stretch/>
        </p:blipFill>
        <p:spPr bwMode="auto">
          <a:xfrm flipH="1">
            <a:off x="7413572" y="1838831"/>
            <a:ext cx="1666634" cy="1600200"/>
          </a:xfrm>
          <a:prstGeom prst="ellipse">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1011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78230-4C07-10D6-3918-3EFD5070A11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0A13612-4DC7-29AA-7E46-9ED383C0198D}"/>
              </a:ext>
            </a:extLst>
          </p:cNvPr>
          <p:cNvSpPr>
            <a:spLocks noGrp="1"/>
          </p:cNvSpPr>
          <p:nvPr>
            <p:ph type="title"/>
          </p:nvPr>
        </p:nvSpPr>
        <p:spPr/>
        <p:txBody>
          <a:bodyPr/>
          <a:lstStyle/>
          <a:p>
            <a:r>
              <a:rPr lang="en-SG" b="1" dirty="0">
                <a:solidFill>
                  <a:srgbClr val="002C6C"/>
                </a:solidFill>
              </a:rPr>
              <a:t>Capabilities: global view</a:t>
            </a:r>
            <a:endParaRPr lang="en-GB" b="1" dirty="0"/>
          </a:p>
        </p:txBody>
      </p:sp>
      <p:sp>
        <p:nvSpPr>
          <p:cNvPr id="4" name="Slide Number Placeholder 3">
            <a:extLst>
              <a:ext uri="{FF2B5EF4-FFF2-40B4-BE49-F238E27FC236}">
                <a16:creationId xmlns:a16="http://schemas.microsoft.com/office/drawing/2014/main" id="{CD531689-8A65-B4AA-8461-37C50C63C026}"/>
              </a:ext>
            </a:extLst>
          </p:cNvPr>
          <p:cNvSpPr>
            <a:spLocks noGrp="1"/>
          </p:cNvSpPr>
          <p:nvPr>
            <p:ph type="sldNum" sz="quarter" idx="12"/>
          </p:nvPr>
        </p:nvSpPr>
        <p:spPr/>
        <p:txBody>
          <a:bodyPr/>
          <a:lstStyle/>
          <a:p>
            <a:pPr defTabSz="1219050" fontAlgn="base">
              <a:spcAft>
                <a:spcPct val="0"/>
              </a:spcAft>
              <a:defRPr/>
            </a:pPr>
            <a:fld id="{4472AB7F-E8D0-4874-A9B8-335B68DC5F05}" type="slidenum">
              <a:rPr lang="en-GB"/>
              <a:pPr defTabSz="1219050" fontAlgn="base">
                <a:spcAft>
                  <a:spcPct val="0"/>
                </a:spcAft>
                <a:defRPr/>
              </a:pPr>
              <a:t>5</a:t>
            </a:fld>
            <a:endParaRPr lang="en-GB"/>
          </a:p>
        </p:txBody>
      </p:sp>
      <p:sp>
        <p:nvSpPr>
          <p:cNvPr id="3" name="TextBox 2">
            <a:extLst>
              <a:ext uri="{FF2B5EF4-FFF2-40B4-BE49-F238E27FC236}">
                <a16:creationId xmlns:a16="http://schemas.microsoft.com/office/drawing/2014/main" id="{80215C1A-2C74-8744-A036-4C3109B3804D}"/>
              </a:ext>
            </a:extLst>
          </p:cNvPr>
          <p:cNvSpPr txBox="1"/>
          <p:nvPr/>
        </p:nvSpPr>
        <p:spPr>
          <a:xfrm>
            <a:off x="596639" y="5222878"/>
            <a:ext cx="2122697" cy="256545"/>
          </a:xfrm>
          <a:prstGeom prst="rect">
            <a:avLst/>
          </a:prstGeom>
          <a:noFill/>
        </p:spPr>
        <p:txBody>
          <a:bodyPr wrap="none" rtlCol="0">
            <a:spAutoFit/>
          </a:bodyPr>
          <a:lstStyle/>
          <a:p>
            <a:pPr defTabSz="1219050">
              <a:defRPr/>
            </a:pPr>
            <a:r>
              <a:rPr lang="en-SG" sz="1067" i="1" dirty="0">
                <a:solidFill>
                  <a:srgbClr val="454545"/>
                </a:solidFill>
                <a:latin typeface="Verdana"/>
              </a:rPr>
              <a:t>Status as of 7 October 2025</a:t>
            </a:r>
            <a:endParaRPr lang="en-GB" sz="1067" dirty="0">
              <a:solidFill>
                <a:srgbClr val="454545"/>
              </a:solidFill>
              <a:latin typeface="Verdana"/>
            </a:endParaRPr>
          </a:p>
        </p:txBody>
      </p:sp>
      <p:graphicFrame>
        <p:nvGraphicFramePr>
          <p:cNvPr id="6" name="Table 5">
            <a:extLst>
              <a:ext uri="{FF2B5EF4-FFF2-40B4-BE49-F238E27FC236}">
                <a16:creationId xmlns:a16="http://schemas.microsoft.com/office/drawing/2014/main" id="{4DB325D8-9BC7-B8BF-5F54-29A9159B9617}"/>
              </a:ext>
            </a:extLst>
          </p:cNvPr>
          <p:cNvGraphicFramePr>
            <a:graphicFrameLocks noGrp="1"/>
          </p:cNvGraphicFramePr>
          <p:nvPr>
            <p:extLst>
              <p:ext uri="{D42A27DB-BD31-4B8C-83A1-F6EECF244321}">
                <p14:modId xmlns:p14="http://schemas.microsoft.com/office/powerpoint/2010/main" val="475394602"/>
              </p:ext>
            </p:extLst>
          </p:nvPr>
        </p:nvGraphicFramePr>
        <p:xfrm>
          <a:off x="606056" y="1392563"/>
          <a:ext cx="8706385" cy="4002640"/>
        </p:xfrm>
        <a:graphic>
          <a:graphicData uri="http://schemas.openxmlformats.org/drawingml/2006/table">
            <a:tbl>
              <a:tblPr firstRow="1" bandRow="1">
                <a:tableStyleId>{2D5ABB26-0587-4C30-8999-92F81FD0307C}</a:tableStyleId>
              </a:tblPr>
              <a:tblGrid>
                <a:gridCol w="1741277">
                  <a:extLst>
                    <a:ext uri="{9D8B030D-6E8A-4147-A177-3AD203B41FA5}">
                      <a16:colId xmlns:a16="http://schemas.microsoft.com/office/drawing/2014/main" val="4044662298"/>
                    </a:ext>
                  </a:extLst>
                </a:gridCol>
                <a:gridCol w="1741277">
                  <a:extLst>
                    <a:ext uri="{9D8B030D-6E8A-4147-A177-3AD203B41FA5}">
                      <a16:colId xmlns:a16="http://schemas.microsoft.com/office/drawing/2014/main" val="2279200970"/>
                    </a:ext>
                  </a:extLst>
                </a:gridCol>
                <a:gridCol w="1741277">
                  <a:extLst>
                    <a:ext uri="{9D8B030D-6E8A-4147-A177-3AD203B41FA5}">
                      <a16:colId xmlns:a16="http://schemas.microsoft.com/office/drawing/2014/main" val="2376791472"/>
                    </a:ext>
                  </a:extLst>
                </a:gridCol>
                <a:gridCol w="1741277">
                  <a:extLst>
                    <a:ext uri="{9D8B030D-6E8A-4147-A177-3AD203B41FA5}">
                      <a16:colId xmlns:a16="http://schemas.microsoft.com/office/drawing/2014/main" val="672514687"/>
                    </a:ext>
                  </a:extLst>
                </a:gridCol>
                <a:gridCol w="1741277">
                  <a:extLst>
                    <a:ext uri="{9D8B030D-6E8A-4147-A177-3AD203B41FA5}">
                      <a16:colId xmlns:a16="http://schemas.microsoft.com/office/drawing/2014/main" val="360966641"/>
                    </a:ext>
                  </a:extLst>
                </a:gridCol>
              </a:tblGrid>
              <a:tr h="715562">
                <a:tc>
                  <a:txBody>
                    <a:bodyPr/>
                    <a:lstStyle/>
                    <a:p>
                      <a:endParaRPr lang="en-GB" sz="1300"/>
                    </a:p>
                  </a:txBody>
                  <a:tcPr marL="121920" marR="121920" marT="60960" marB="60960">
                    <a:noFill/>
                  </a:tcPr>
                </a:tc>
                <a:tc gridSpan="3">
                  <a:txBody>
                    <a:bodyPr/>
                    <a:lstStyle/>
                    <a:p>
                      <a:pPr algn="ctr"/>
                      <a:r>
                        <a:rPr lang="en-GB" sz="1500" b="1">
                          <a:solidFill>
                            <a:schemeClr val="bg1"/>
                          </a:solidFill>
                        </a:rPr>
                        <a:t>Data Upload</a:t>
                      </a:r>
                    </a:p>
                  </a:txBody>
                  <a:tcPr marL="121920" marR="121920" marT="60960" marB="6096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002C6C">
                        <a:alpha val="50196"/>
                      </a:srgbClr>
                    </a:solidFill>
                  </a:tcPr>
                </a:tc>
                <a:tc hMerge="1">
                  <a:txBody>
                    <a:bodyPr/>
                    <a:lstStyle/>
                    <a:p>
                      <a:pPr algn="ctr"/>
                      <a:endParaRPr lang="en-GB" sz="1100" b="1">
                        <a:solidFill>
                          <a:schemeClr val="bg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noFill/>
                  </a:tcPr>
                </a:tc>
                <a:tc hMerge="1">
                  <a:txBody>
                    <a:bodyPr/>
                    <a:lstStyle/>
                    <a:p>
                      <a:pPr algn="ctr"/>
                      <a:endParaRPr lang="en-GB" sz="1100" b="1">
                        <a:solidFill>
                          <a:schemeClr val="bg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noFill/>
                  </a:tcPr>
                </a:tc>
                <a:tc>
                  <a:txBody>
                    <a:bodyPr/>
                    <a:lstStyle/>
                    <a:p>
                      <a:pPr algn="ctr"/>
                      <a:r>
                        <a:rPr lang="en-GB" sz="1500" b="1">
                          <a:solidFill>
                            <a:schemeClr val="bg1"/>
                          </a:solidFill>
                        </a:rPr>
                        <a:t>Data Usage</a:t>
                      </a:r>
                    </a:p>
                  </a:txBody>
                  <a:tcPr marL="121920" marR="121920" marT="60960" marB="6096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002C6C">
                        <a:alpha val="50196"/>
                      </a:srgbClr>
                    </a:solidFill>
                  </a:tcPr>
                </a:tc>
                <a:extLst>
                  <a:ext uri="{0D108BD9-81ED-4DB2-BD59-A6C34878D82A}">
                    <a16:rowId xmlns:a16="http://schemas.microsoft.com/office/drawing/2014/main" val="1333588070"/>
                  </a:ext>
                </a:extLst>
              </a:tr>
              <a:tr h="913132">
                <a:tc>
                  <a:txBody>
                    <a:bodyPr/>
                    <a:lstStyle/>
                    <a:p>
                      <a:endParaRPr lang="en-GB" sz="1300"/>
                    </a:p>
                  </a:txBody>
                  <a:tcPr marL="121920" marR="121920" marT="60960" marB="60960"/>
                </a:tc>
                <a:tc>
                  <a:txBody>
                    <a:bodyPr/>
                    <a:lstStyle/>
                    <a:p>
                      <a:pPr algn="ctr"/>
                      <a:r>
                        <a:rPr lang="en-GB" sz="1500" b="1">
                          <a:solidFill>
                            <a:schemeClr val="bg1"/>
                          </a:solidFill>
                        </a:rPr>
                        <a:t>Licence Registry</a:t>
                      </a:r>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algn="ctr"/>
                      <a:r>
                        <a:rPr lang="en-GB" sz="1500" b="1">
                          <a:solidFill>
                            <a:schemeClr val="bg1"/>
                          </a:solidFill>
                        </a:rPr>
                        <a:t>GTIN </a:t>
                      </a:r>
                      <a:br>
                        <a:rPr lang="en-GB" sz="1500" b="1">
                          <a:solidFill>
                            <a:schemeClr val="bg1"/>
                          </a:solidFill>
                        </a:rPr>
                      </a:br>
                      <a:r>
                        <a:rPr lang="en-GB" sz="1500" b="1">
                          <a:solidFill>
                            <a:schemeClr val="bg1"/>
                          </a:solidFill>
                        </a:rPr>
                        <a:t>Registry</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algn="ctr"/>
                      <a:r>
                        <a:rPr lang="en-GB" sz="1500" b="1">
                          <a:solidFill>
                            <a:schemeClr val="bg1"/>
                          </a:solidFill>
                        </a:rPr>
                        <a:t>GLN </a:t>
                      </a:r>
                      <a:br>
                        <a:rPr lang="en-GB" sz="1500" b="1">
                          <a:solidFill>
                            <a:schemeClr val="bg1"/>
                          </a:solidFill>
                        </a:rPr>
                      </a:br>
                      <a:r>
                        <a:rPr lang="en-GB" sz="1500" b="1">
                          <a:solidFill>
                            <a:schemeClr val="bg1"/>
                          </a:solidFill>
                        </a:rPr>
                        <a:t>Registry</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algn="ctr"/>
                      <a:r>
                        <a:rPr lang="en-GB" sz="1400" b="1">
                          <a:solidFill>
                            <a:schemeClr val="bg1"/>
                          </a:solidFill>
                        </a:rPr>
                        <a:t>Verified by GS1</a:t>
                      </a:r>
                      <a:br>
                        <a:rPr lang="en-GB" sz="1400" b="1">
                          <a:solidFill>
                            <a:schemeClr val="bg1"/>
                          </a:solidFill>
                        </a:rPr>
                      </a:br>
                      <a:r>
                        <a:rPr lang="en-GB" sz="1400" b="1">
                          <a:solidFill>
                            <a:schemeClr val="bg1"/>
                          </a:solidFill>
                        </a:rPr>
                        <a:t>queries</a:t>
                      </a:r>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668859302"/>
                  </a:ext>
                </a:extLst>
              </a:tr>
              <a:tr h="1186973">
                <a:tc>
                  <a:txBody>
                    <a:bodyPr/>
                    <a:lstStyle/>
                    <a:p>
                      <a:pPr algn="l"/>
                      <a:r>
                        <a:rPr lang="en-GB" sz="1500" b="1">
                          <a:solidFill>
                            <a:schemeClr val="bg1"/>
                          </a:solidFill>
                        </a:rPr>
                        <a:t>Total</a:t>
                      </a:r>
                    </a:p>
                  </a:txBody>
                  <a:tcPr marL="121920" marR="121920" marT="60960" marB="6096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002C6C">
                        <a:alpha val="50196"/>
                      </a:srgbClr>
                    </a:solidFill>
                  </a:tcPr>
                </a:tc>
                <a:tc>
                  <a:txBody>
                    <a:bodyPr/>
                    <a:lstStyle/>
                    <a:p>
                      <a:pPr algn="ctr"/>
                      <a:r>
                        <a:rPr lang="en-GB" sz="2000" b="1" dirty="0">
                          <a:solidFill>
                            <a:schemeClr val="accent4">
                              <a:lumMod val="50000"/>
                            </a:schemeClr>
                          </a:solidFill>
                        </a:rPr>
                        <a:t>12.9M</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lumMod val="40000"/>
                        <a:lumOff val="60000"/>
                      </a:schemeClr>
                    </a:solidFill>
                  </a:tcPr>
                </a:tc>
                <a:tc>
                  <a:txBody>
                    <a:bodyPr/>
                    <a:lstStyle/>
                    <a:p>
                      <a:pPr algn="ctr"/>
                      <a:r>
                        <a:rPr lang="en-GB" sz="2000" b="1" dirty="0">
                          <a:solidFill>
                            <a:schemeClr val="accent3">
                              <a:lumMod val="50000"/>
                            </a:schemeClr>
                          </a:solidFill>
                        </a:rPr>
                        <a:t>712M</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algn="ctr"/>
                      <a:r>
                        <a:rPr lang="en-GB" sz="2000" b="1" dirty="0">
                          <a:solidFill>
                            <a:schemeClr val="accent6">
                              <a:lumMod val="50000"/>
                            </a:schemeClr>
                          </a:solidFill>
                        </a:rPr>
                        <a:t>2.4M</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en-GB" sz="2000" b="1" dirty="0">
                          <a:solidFill>
                            <a:schemeClr val="accent5">
                              <a:lumMod val="50000"/>
                            </a:schemeClr>
                          </a:solidFill>
                        </a:rPr>
                        <a:t>12.8B</a:t>
                      </a:r>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984302854"/>
                  </a:ext>
                </a:extLst>
              </a:tr>
              <a:tr h="1186973">
                <a:tc>
                  <a:txBody>
                    <a:bodyPr/>
                    <a:lstStyle/>
                    <a:p>
                      <a:pPr algn="l"/>
                      <a:r>
                        <a:rPr lang="en-GB" sz="1500" b="1" dirty="0">
                          <a:solidFill>
                            <a:schemeClr val="bg1"/>
                          </a:solidFill>
                        </a:rPr>
                        <a:t>Connected MOs</a:t>
                      </a:r>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rgbClr val="002C6C">
                        <a:alpha val="50196"/>
                      </a:srgbClr>
                    </a:solidFill>
                  </a:tcPr>
                </a:tc>
                <a:tc>
                  <a:txBody>
                    <a:bodyPr/>
                    <a:lstStyle/>
                    <a:p>
                      <a:pPr algn="ctr"/>
                      <a:r>
                        <a:rPr lang="en-GB" sz="2000" b="1" dirty="0">
                          <a:solidFill>
                            <a:schemeClr val="accent4">
                              <a:lumMod val="50000"/>
                            </a:schemeClr>
                          </a:solidFill>
                        </a:rPr>
                        <a:t>118</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4">
                        <a:lumMod val="20000"/>
                        <a:lumOff val="80000"/>
                      </a:schemeClr>
                    </a:solidFill>
                  </a:tcPr>
                </a:tc>
                <a:tc>
                  <a:txBody>
                    <a:bodyPr/>
                    <a:lstStyle/>
                    <a:p>
                      <a:pPr algn="ctr"/>
                      <a:r>
                        <a:rPr lang="en-GB" sz="2000" b="1" dirty="0">
                          <a:solidFill>
                            <a:schemeClr val="accent3">
                              <a:lumMod val="50000"/>
                            </a:schemeClr>
                          </a:solidFill>
                        </a:rPr>
                        <a:t>109</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a:r>
                        <a:rPr lang="en-GB" sz="2000" b="1" dirty="0">
                          <a:solidFill>
                            <a:schemeClr val="accent6">
                              <a:lumMod val="50000"/>
                            </a:schemeClr>
                          </a:solidFill>
                        </a:rPr>
                        <a:t>60</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lumMod val="20000"/>
                        <a:lumOff val="80000"/>
                      </a:schemeClr>
                    </a:solidFill>
                  </a:tcPr>
                </a:tc>
                <a:tc>
                  <a:txBody>
                    <a:bodyPr/>
                    <a:lstStyle/>
                    <a:p>
                      <a:pPr algn="ctr"/>
                      <a:r>
                        <a:rPr lang="en-GB" sz="2000" b="1" dirty="0">
                          <a:solidFill>
                            <a:schemeClr val="accent5">
                              <a:lumMod val="50000"/>
                            </a:schemeClr>
                          </a:solidFill>
                        </a:rPr>
                        <a:t>110</a:t>
                      </a:r>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5">
                        <a:lumMod val="20000"/>
                        <a:lumOff val="80000"/>
                      </a:schemeClr>
                    </a:solidFill>
                  </a:tcPr>
                </a:tc>
                <a:extLst>
                  <a:ext uri="{0D108BD9-81ED-4DB2-BD59-A6C34878D82A}">
                    <a16:rowId xmlns:a16="http://schemas.microsoft.com/office/drawing/2014/main" val="3336865230"/>
                  </a:ext>
                </a:extLst>
              </a:tr>
            </a:tbl>
          </a:graphicData>
        </a:graphic>
      </p:graphicFrame>
      <p:pic>
        <p:nvPicPr>
          <p:cNvPr id="2" name="object 5">
            <a:extLst>
              <a:ext uri="{FF2B5EF4-FFF2-40B4-BE49-F238E27FC236}">
                <a16:creationId xmlns:a16="http://schemas.microsoft.com/office/drawing/2014/main" id="{8032AB7B-A9FA-C23F-CA23-24B0F697D733}"/>
              </a:ext>
            </a:extLst>
          </p:cNvPr>
          <p:cNvPicPr/>
          <p:nvPr/>
        </p:nvPicPr>
        <p:blipFill>
          <a:blip r:embed="rId3" cstate="print"/>
          <a:stretch>
            <a:fillRect/>
          </a:stretch>
        </p:blipFill>
        <p:spPr>
          <a:xfrm>
            <a:off x="9632156" y="3301287"/>
            <a:ext cx="1886954" cy="2317461"/>
          </a:xfrm>
          <a:prstGeom prst="rect">
            <a:avLst/>
          </a:prstGeom>
        </p:spPr>
      </p:pic>
      <p:pic>
        <p:nvPicPr>
          <p:cNvPr id="7" name="Picture 6">
            <a:extLst>
              <a:ext uri="{FF2B5EF4-FFF2-40B4-BE49-F238E27FC236}">
                <a16:creationId xmlns:a16="http://schemas.microsoft.com/office/drawing/2014/main" id="{9F68614F-201E-EEDC-911D-53EA08767A10}"/>
              </a:ext>
            </a:extLst>
          </p:cNvPr>
          <p:cNvPicPr>
            <a:picLocks noChangeAspect="1"/>
          </p:cNvPicPr>
          <p:nvPr/>
        </p:nvPicPr>
        <p:blipFill>
          <a:blip r:embed="rId4"/>
          <a:stretch>
            <a:fillRect/>
          </a:stretch>
        </p:blipFill>
        <p:spPr>
          <a:xfrm>
            <a:off x="9448713" y="1392563"/>
            <a:ext cx="2352315" cy="1726417"/>
          </a:xfrm>
          <a:prstGeom prst="rect">
            <a:avLst/>
          </a:prstGeom>
        </p:spPr>
      </p:pic>
    </p:spTree>
    <p:extLst>
      <p:ext uri="{BB962C8B-B14F-4D97-AF65-F5344CB8AC3E}">
        <p14:creationId xmlns:p14="http://schemas.microsoft.com/office/powerpoint/2010/main" val="379354746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0151D48-0B92-5169-8B60-35A989907FDE}"/>
              </a:ext>
            </a:extLst>
          </p:cNvPr>
          <p:cNvSpPr/>
          <p:nvPr/>
        </p:nvSpPr>
        <p:spPr>
          <a:xfrm>
            <a:off x="0" y="847388"/>
            <a:ext cx="12192000" cy="6010613"/>
          </a:xfrm>
          <a:prstGeom prst="rect">
            <a:avLst/>
          </a:prstGeom>
          <a:solidFill>
            <a:srgbClr val="E7F3F9"/>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endParaRPr lang="en-GB" sz="2400">
              <a:solidFill>
                <a:prstClr val="white"/>
              </a:solidFill>
              <a:latin typeface="Verdana"/>
            </a:endParaRPr>
          </a:p>
        </p:txBody>
      </p:sp>
      <p:sp>
        <p:nvSpPr>
          <p:cNvPr id="22" name="Rectangle 21">
            <a:extLst>
              <a:ext uri="{FF2B5EF4-FFF2-40B4-BE49-F238E27FC236}">
                <a16:creationId xmlns:a16="http://schemas.microsoft.com/office/drawing/2014/main" id="{20B59E33-4FB2-F103-F26D-6A48CF7AE3BA}"/>
              </a:ext>
            </a:extLst>
          </p:cNvPr>
          <p:cNvSpPr/>
          <p:nvPr/>
        </p:nvSpPr>
        <p:spPr>
          <a:xfrm>
            <a:off x="0" y="1"/>
            <a:ext cx="12192000" cy="84738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1219020"/>
            <a:r>
              <a:rPr lang="en-GB" sz="2400" b="1" dirty="0">
                <a:solidFill>
                  <a:srgbClr val="002C6C"/>
                </a:solidFill>
                <a:latin typeface="Verdana"/>
              </a:rPr>
              <a:t>GS1 Registries Use Cases Dashboard</a:t>
            </a:r>
            <a:br>
              <a:rPr lang="en-GB" sz="2400" b="1" dirty="0">
                <a:solidFill>
                  <a:srgbClr val="002C6C"/>
                </a:solidFill>
                <a:latin typeface="Verdana"/>
              </a:rPr>
            </a:br>
            <a:r>
              <a:rPr lang="en-GB" sz="1400" b="1" i="1" dirty="0">
                <a:solidFill>
                  <a:srgbClr val="002C6C"/>
                </a:solidFill>
                <a:latin typeface="Verdana"/>
              </a:rPr>
              <a:t>update as of September 2025</a:t>
            </a:r>
            <a:endParaRPr lang="en-GB" sz="2400" b="1" i="1" dirty="0">
              <a:solidFill>
                <a:srgbClr val="002C6C"/>
              </a:solidFill>
              <a:latin typeface="Verdana"/>
            </a:endParaRPr>
          </a:p>
        </p:txBody>
      </p:sp>
      <p:sp>
        <p:nvSpPr>
          <p:cNvPr id="47" name="Rectangle 46">
            <a:extLst>
              <a:ext uri="{FF2B5EF4-FFF2-40B4-BE49-F238E27FC236}">
                <a16:creationId xmlns:a16="http://schemas.microsoft.com/office/drawing/2014/main" id="{EAE31368-7086-3DD6-2355-9FE0F291A028}"/>
              </a:ext>
            </a:extLst>
          </p:cNvPr>
          <p:cNvSpPr/>
          <p:nvPr/>
        </p:nvSpPr>
        <p:spPr>
          <a:xfrm>
            <a:off x="3" y="847388"/>
            <a:ext cx="6095989" cy="3005307"/>
          </a:xfrm>
          <a:prstGeom prst="rect">
            <a:avLst/>
          </a:prstGeom>
          <a:solidFill>
            <a:srgbClr val="E7F3F9"/>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endParaRPr lang="en-GB" sz="2400">
              <a:solidFill>
                <a:prstClr val="white"/>
              </a:solidFill>
              <a:latin typeface="Verdana"/>
            </a:endParaRPr>
          </a:p>
        </p:txBody>
      </p:sp>
      <p:sp>
        <p:nvSpPr>
          <p:cNvPr id="49" name="Rectangle 48">
            <a:extLst>
              <a:ext uri="{FF2B5EF4-FFF2-40B4-BE49-F238E27FC236}">
                <a16:creationId xmlns:a16="http://schemas.microsoft.com/office/drawing/2014/main" id="{A110969A-1850-48C6-0243-9D5B0775125F}"/>
              </a:ext>
            </a:extLst>
          </p:cNvPr>
          <p:cNvSpPr/>
          <p:nvPr/>
        </p:nvSpPr>
        <p:spPr>
          <a:xfrm>
            <a:off x="3" y="3852696"/>
            <a:ext cx="6095989" cy="3005307"/>
          </a:xfrm>
          <a:prstGeom prst="rect">
            <a:avLst/>
          </a:prstGeom>
          <a:solidFill>
            <a:srgbClr val="E7F3F9"/>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endParaRPr lang="en-GB" sz="2400">
              <a:solidFill>
                <a:prstClr val="white"/>
              </a:solidFill>
              <a:latin typeface="Verdana"/>
            </a:endParaRPr>
          </a:p>
        </p:txBody>
      </p:sp>
      <p:sp>
        <p:nvSpPr>
          <p:cNvPr id="50" name="Rectangle 49">
            <a:extLst>
              <a:ext uri="{FF2B5EF4-FFF2-40B4-BE49-F238E27FC236}">
                <a16:creationId xmlns:a16="http://schemas.microsoft.com/office/drawing/2014/main" id="{E87300D4-2302-A1A3-A2E4-05ACE80C2217}"/>
              </a:ext>
            </a:extLst>
          </p:cNvPr>
          <p:cNvSpPr/>
          <p:nvPr/>
        </p:nvSpPr>
        <p:spPr>
          <a:xfrm>
            <a:off x="6095992" y="847388"/>
            <a:ext cx="6095989" cy="3005307"/>
          </a:xfrm>
          <a:prstGeom prst="rect">
            <a:avLst/>
          </a:prstGeom>
          <a:solidFill>
            <a:srgbClr val="E7F3F9"/>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endParaRPr lang="en-GB" sz="2400">
              <a:solidFill>
                <a:prstClr val="white"/>
              </a:solidFill>
              <a:latin typeface="Verdana"/>
            </a:endParaRPr>
          </a:p>
        </p:txBody>
      </p:sp>
      <p:sp>
        <p:nvSpPr>
          <p:cNvPr id="51" name="Rectangle 50">
            <a:extLst>
              <a:ext uri="{FF2B5EF4-FFF2-40B4-BE49-F238E27FC236}">
                <a16:creationId xmlns:a16="http://schemas.microsoft.com/office/drawing/2014/main" id="{39F0815D-1761-F81B-65A0-E51E4E84F460}"/>
              </a:ext>
            </a:extLst>
          </p:cNvPr>
          <p:cNvSpPr/>
          <p:nvPr/>
        </p:nvSpPr>
        <p:spPr>
          <a:xfrm>
            <a:off x="6095992" y="3852693"/>
            <a:ext cx="6095989" cy="3005307"/>
          </a:xfrm>
          <a:prstGeom prst="rect">
            <a:avLst/>
          </a:prstGeom>
          <a:ln w="12700">
            <a:solidFill>
              <a:srgbClr val="D4ECD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020"/>
            <a:endParaRPr lang="en-GB" sz="2400">
              <a:solidFill>
                <a:prstClr val="white"/>
              </a:solidFill>
              <a:latin typeface="Verdana"/>
            </a:endParaRPr>
          </a:p>
        </p:txBody>
      </p:sp>
      <p:cxnSp>
        <p:nvCxnSpPr>
          <p:cNvPr id="41" name="Straight Connector 40">
            <a:extLst>
              <a:ext uri="{FF2B5EF4-FFF2-40B4-BE49-F238E27FC236}">
                <a16:creationId xmlns:a16="http://schemas.microsoft.com/office/drawing/2014/main" id="{C1003471-5F7A-1428-08F5-1DAE7257CC81}"/>
              </a:ext>
            </a:extLst>
          </p:cNvPr>
          <p:cNvCxnSpPr>
            <a:stCxn id="3" idx="0"/>
          </p:cNvCxnSpPr>
          <p:nvPr/>
        </p:nvCxnSpPr>
        <p:spPr>
          <a:xfrm>
            <a:off x="6096000" y="847388"/>
            <a:ext cx="0" cy="6010613"/>
          </a:xfrm>
          <a:prstGeom prst="line">
            <a:avLst/>
          </a:prstGeom>
          <a:ln w="1270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FB61DAC8-E6F8-0BDC-E8D3-D1E59C4335B5}"/>
              </a:ext>
            </a:extLst>
          </p:cNvPr>
          <p:cNvCxnSpPr>
            <a:stCxn id="3" idx="1"/>
            <a:endCxn id="3" idx="3"/>
          </p:cNvCxnSpPr>
          <p:nvPr/>
        </p:nvCxnSpPr>
        <p:spPr>
          <a:xfrm>
            <a:off x="0" y="3852693"/>
            <a:ext cx="12192000" cy="0"/>
          </a:xfrm>
          <a:prstGeom prst="line">
            <a:avLst/>
          </a:prstGeom>
          <a:ln w="1270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4140" name="Group 4139">
            <a:extLst>
              <a:ext uri="{FF2B5EF4-FFF2-40B4-BE49-F238E27FC236}">
                <a16:creationId xmlns:a16="http://schemas.microsoft.com/office/drawing/2014/main" id="{89448625-0570-644B-EBD4-3C41279D3815}"/>
              </a:ext>
            </a:extLst>
          </p:cNvPr>
          <p:cNvGrpSpPr/>
          <p:nvPr/>
        </p:nvGrpSpPr>
        <p:grpSpPr>
          <a:xfrm>
            <a:off x="288096" y="3954854"/>
            <a:ext cx="5550160" cy="888000"/>
            <a:chOff x="165906" y="2966141"/>
            <a:chExt cx="4162620" cy="666000"/>
          </a:xfrm>
        </p:grpSpPr>
        <p:sp>
          <p:nvSpPr>
            <p:cNvPr id="4121" name="TextBox 4120">
              <a:extLst>
                <a:ext uri="{FF2B5EF4-FFF2-40B4-BE49-F238E27FC236}">
                  <a16:creationId xmlns:a16="http://schemas.microsoft.com/office/drawing/2014/main" id="{B5180139-1029-08F1-E6A0-ED577168B204}"/>
                </a:ext>
              </a:extLst>
            </p:cNvPr>
            <p:cNvSpPr txBox="1"/>
            <p:nvPr/>
          </p:nvSpPr>
          <p:spPr>
            <a:xfrm>
              <a:off x="742926" y="3068309"/>
              <a:ext cx="3585600" cy="438581"/>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p:spPr>
          <p:txBody>
            <a:bodyPr wrap="square">
              <a:spAutoFit/>
            </a:bodyPr>
            <a:lstStyle/>
            <a:p>
              <a:pPr marL="143992" defTabSz="1219020">
                <a:defRPr/>
              </a:pPr>
              <a:r>
                <a:rPr lang="en-GB" sz="1600" b="1">
                  <a:solidFill>
                    <a:srgbClr val="002C6C"/>
                  </a:solidFill>
                  <a:latin typeface="Verdana"/>
                </a:rPr>
                <a:t>Customs &amp; trade digitalisation</a:t>
              </a:r>
              <a:br>
                <a:rPr lang="en-GB" sz="1600" b="1">
                  <a:solidFill>
                    <a:srgbClr val="002C6C"/>
                  </a:solidFill>
                  <a:latin typeface="Verdana"/>
                </a:rPr>
              </a:br>
              <a:r>
                <a:rPr lang="en-GB" sz="800" i="1">
                  <a:solidFill>
                    <a:srgbClr val="002C6C"/>
                  </a:solidFill>
                  <a:latin typeface="Verdana"/>
                  <a:cs typeface="Arial" panose="020B0604020202020204" pitchFamily="34" charset="0"/>
                </a:rPr>
                <a:t>access data around GS1 identifiers to verify products and entities to increase      efficiency and improve risk management at the border.</a:t>
              </a:r>
            </a:p>
          </p:txBody>
        </p:sp>
        <p:pic>
          <p:nvPicPr>
            <p:cNvPr id="4123" name="Picture 4122">
              <a:extLst>
                <a:ext uri="{FF2B5EF4-FFF2-40B4-BE49-F238E27FC236}">
                  <a16:creationId xmlns:a16="http://schemas.microsoft.com/office/drawing/2014/main" id="{A69A662A-DF3D-0F80-F9B0-54B27CB00E1A}"/>
                </a:ext>
              </a:extLst>
            </p:cNvPr>
            <p:cNvPicPr>
              <a:picLocks noChangeAspect="1"/>
            </p:cNvPicPr>
            <p:nvPr/>
          </p:nvPicPr>
          <p:blipFill>
            <a:blip r:embed="rId3"/>
            <a:stretch>
              <a:fillRect/>
            </a:stretch>
          </p:blipFill>
          <p:spPr>
            <a:xfrm>
              <a:off x="165906" y="2966141"/>
              <a:ext cx="666000" cy="666000"/>
            </a:xfrm>
            <a:prstGeom prst="rect">
              <a:avLst/>
            </a:prstGeom>
          </p:spPr>
        </p:pic>
      </p:grpSp>
      <p:grpSp>
        <p:nvGrpSpPr>
          <p:cNvPr id="4129" name="Group 4128">
            <a:extLst>
              <a:ext uri="{FF2B5EF4-FFF2-40B4-BE49-F238E27FC236}">
                <a16:creationId xmlns:a16="http://schemas.microsoft.com/office/drawing/2014/main" id="{65102938-6289-9054-6598-F140081989FF}"/>
              </a:ext>
            </a:extLst>
          </p:cNvPr>
          <p:cNvGrpSpPr/>
          <p:nvPr/>
        </p:nvGrpSpPr>
        <p:grpSpPr>
          <a:xfrm>
            <a:off x="6368274" y="916635"/>
            <a:ext cx="5551385" cy="888000"/>
            <a:chOff x="4789191" y="122667"/>
            <a:chExt cx="4163539" cy="666000"/>
          </a:xfrm>
        </p:grpSpPr>
        <p:sp>
          <p:nvSpPr>
            <p:cNvPr id="4130" name="TextBox 4129">
              <a:extLst>
                <a:ext uri="{FF2B5EF4-FFF2-40B4-BE49-F238E27FC236}">
                  <a16:creationId xmlns:a16="http://schemas.microsoft.com/office/drawing/2014/main" id="{319F9AE4-E57F-3318-7911-E83AEDB05634}"/>
                </a:ext>
              </a:extLst>
            </p:cNvPr>
            <p:cNvSpPr txBox="1"/>
            <p:nvPr/>
          </p:nvSpPr>
          <p:spPr>
            <a:xfrm>
              <a:off x="4789191" y="224835"/>
              <a:ext cx="3584419" cy="438581"/>
            </a:xfrm>
            <a:prstGeom prst="rect">
              <a:avLst/>
            </a:prstGeom>
            <a:gradFill flip="none" rotWithShape="1">
              <a:gsLst>
                <a:gs pos="0">
                  <a:srgbClr val="7AC143">
                    <a:tint val="66000"/>
                    <a:satMod val="160000"/>
                  </a:srgbClr>
                </a:gs>
                <a:gs pos="50000">
                  <a:srgbClr val="7AC143">
                    <a:tint val="44500"/>
                    <a:satMod val="160000"/>
                  </a:srgbClr>
                </a:gs>
                <a:gs pos="100000">
                  <a:srgbClr val="7AC143">
                    <a:tint val="23500"/>
                    <a:satMod val="160000"/>
                  </a:srgbClr>
                </a:gs>
              </a:gsLst>
              <a:lin ang="10800000" scaled="1"/>
              <a:tileRect/>
            </a:gradFill>
          </p:spPr>
          <p:txBody>
            <a:bodyPr wrap="square">
              <a:spAutoFit/>
            </a:bodyPr>
            <a:lstStyle/>
            <a:p>
              <a:pPr defTabSz="1219020">
                <a:defRPr/>
              </a:pPr>
              <a:r>
                <a:rPr lang="en-GB" sz="1600" b="1">
                  <a:solidFill>
                    <a:srgbClr val="002C6C"/>
                  </a:solidFill>
                  <a:latin typeface="Verdana"/>
                </a:rPr>
                <a:t>Access to enriched product master data </a:t>
              </a:r>
              <a:r>
                <a:rPr lang="en-GB" sz="800" i="1">
                  <a:solidFill>
                    <a:srgbClr val="002C6C"/>
                  </a:solidFill>
                  <a:latin typeface="Verdana"/>
                  <a:cs typeface="Arial" panose="020B0604020202020204" pitchFamily="34" charset="0"/>
                </a:rPr>
                <a:t>access extended, authoritative and trusted product master data to enable scale across markets and unlock overall efficiency gains.</a:t>
              </a:r>
              <a:endParaRPr lang="en-GB" sz="1600" b="1">
                <a:solidFill>
                  <a:srgbClr val="002C6C"/>
                </a:solidFill>
                <a:latin typeface="Verdana"/>
              </a:endParaRPr>
            </a:p>
          </p:txBody>
        </p:sp>
        <p:pic>
          <p:nvPicPr>
            <p:cNvPr id="4131" name="Picture 4">
              <a:extLst>
                <a:ext uri="{FF2B5EF4-FFF2-40B4-BE49-F238E27FC236}">
                  <a16:creationId xmlns:a16="http://schemas.microsoft.com/office/drawing/2014/main" id="{C787BF5B-6C8F-78AD-FF0A-AA6790DAD1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6730" y="122667"/>
              <a:ext cx="666000" cy="6660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148" name="Straight Connector 4147">
            <a:extLst>
              <a:ext uri="{FF2B5EF4-FFF2-40B4-BE49-F238E27FC236}">
                <a16:creationId xmlns:a16="http://schemas.microsoft.com/office/drawing/2014/main" id="{EE9B4F69-7F3A-D51C-A486-2E8A0AEC5C81}"/>
              </a:ext>
            </a:extLst>
          </p:cNvPr>
          <p:cNvCxnSpPr>
            <a:cxnSpLocks/>
          </p:cNvCxnSpPr>
          <p:nvPr/>
        </p:nvCxnSpPr>
        <p:spPr>
          <a:xfrm>
            <a:off x="2032000" y="1857427"/>
            <a:ext cx="0" cy="1692855"/>
          </a:xfrm>
          <a:prstGeom prst="line">
            <a:avLst/>
          </a:prstGeom>
          <a:ln w="12700">
            <a:solidFill>
              <a:srgbClr val="D4ECDD"/>
            </a:solidFill>
          </a:ln>
          <a:effectLst/>
        </p:spPr>
        <p:style>
          <a:lnRef idx="2">
            <a:schemeClr val="accent1"/>
          </a:lnRef>
          <a:fillRef idx="0">
            <a:schemeClr val="accent1"/>
          </a:fillRef>
          <a:effectRef idx="1">
            <a:schemeClr val="accent1"/>
          </a:effectRef>
          <a:fontRef idx="minor">
            <a:schemeClr val="tx1"/>
          </a:fontRef>
        </p:style>
      </p:cxnSp>
      <p:cxnSp>
        <p:nvCxnSpPr>
          <p:cNvPr id="4149" name="Straight Connector 4148">
            <a:extLst>
              <a:ext uri="{FF2B5EF4-FFF2-40B4-BE49-F238E27FC236}">
                <a16:creationId xmlns:a16="http://schemas.microsoft.com/office/drawing/2014/main" id="{DAD049AF-4056-0C80-5B28-DAB5D5D74F5B}"/>
              </a:ext>
            </a:extLst>
          </p:cNvPr>
          <p:cNvCxnSpPr>
            <a:cxnSpLocks/>
          </p:cNvCxnSpPr>
          <p:nvPr/>
        </p:nvCxnSpPr>
        <p:spPr>
          <a:xfrm>
            <a:off x="4064000" y="1866480"/>
            <a:ext cx="0" cy="1694400"/>
          </a:xfrm>
          <a:prstGeom prst="line">
            <a:avLst/>
          </a:prstGeom>
          <a:ln w="12700">
            <a:solidFill>
              <a:srgbClr val="D4ECDD"/>
            </a:solidFill>
          </a:ln>
          <a:effectLst/>
        </p:spPr>
        <p:style>
          <a:lnRef idx="2">
            <a:schemeClr val="accent1"/>
          </a:lnRef>
          <a:fillRef idx="0">
            <a:schemeClr val="accent1"/>
          </a:fillRef>
          <a:effectRef idx="1">
            <a:schemeClr val="accent1"/>
          </a:effectRef>
          <a:fontRef idx="minor">
            <a:schemeClr val="tx1"/>
          </a:fontRef>
        </p:style>
      </p:cxnSp>
      <p:cxnSp>
        <p:nvCxnSpPr>
          <p:cNvPr id="4150" name="Straight Connector 4149">
            <a:extLst>
              <a:ext uri="{FF2B5EF4-FFF2-40B4-BE49-F238E27FC236}">
                <a16:creationId xmlns:a16="http://schemas.microsoft.com/office/drawing/2014/main" id="{E2B25896-ABF4-4AE5-3F9B-D68F4CE3BEF5}"/>
              </a:ext>
            </a:extLst>
          </p:cNvPr>
          <p:cNvCxnSpPr>
            <a:cxnSpLocks/>
          </p:cNvCxnSpPr>
          <p:nvPr/>
        </p:nvCxnSpPr>
        <p:spPr>
          <a:xfrm>
            <a:off x="2030157" y="4834005"/>
            <a:ext cx="0" cy="1694400"/>
          </a:xfrm>
          <a:prstGeom prst="line">
            <a:avLst/>
          </a:prstGeom>
          <a:ln w="12700">
            <a:solidFill>
              <a:srgbClr val="FFDAD3"/>
            </a:solidFill>
          </a:ln>
          <a:effectLst/>
        </p:spPr>
        <p:style>
          <a:lnRef idx="2">
            <a:schemeClr val="accent1"/>
          </a:lnRef>
          <a:fillRef idx="0">
            <a:schemeClr val="accent1"/>
          </a:fillRef>
          <a:effectRef idx="1">
            <a:schemeClr val="accent1"/>
          </a:effectRef>
          <a:fontRef idx="minor">
            <a:schemeClr val="tx1"/>
          </a:fontRef>
        </p:style>
      </p:cxnSp>
      <p:cxnSp>
        <p:nvCxnSpPr>
          <p:cNvPr id="4151" name="Straight Connector 4150">
            <a:extLst>
              <a:ext uri="{FF2B5EF4-FFF2-40B4-BE49-F238E27FC236}">
                <a16:creationId xmlns:a16="http://schemas.microsoft.com/office/drawing/2014/main" id="{AD52FC15-1D36-87EC-8F9B-CD8A8948A6B4}"/>
              </a:ext>
            </a:extLst>
          </p:cNvPr>
          <p:cNvCxnSpPr>
            <a:cxnSpLocks/>
          </p:cNvCxnSpPr>
          <p:nvPr/>
        </p:nvCxnSpPr>
        <p:spPr>
          <a:xfrm>
            <a:off x="4062157" y="4834005"/>
            <a:ext cx="0" cy="1694400"/>
          </a:xfrm>
          <a:prstGeom prst="line">
            <a:avLst/>
          </a:prstGeom>
          <a:ln w="12700">
            <a:solidFill>
              <a:srgbClr val="FFDAD3"/>
            </a:solidFill>
          </a:ln>
          <a:effectLst/>
        </p:spPr>
        <p:style>
          <a:lnRef idx="2">
            <a:schemeClr val="accent1"/>
          </a:lnRef>
          <a:fillRef idx="0">
            <a:schemeClr val="accent1"/>
          </a:fillRef>
          <a:effectRef idx="1">
            <a:schemeClr val="accent1"/>
          </a:effectRef>
          <a:fontRef idx="minor">
            <a:schemeClr val="tx1"/>
          </a:fontRef>
        </p:style>
      </p:cxnSp>
      <p:cxnSp>
        <p:nvCxnSpPr>
          <p:cNvPr id="4152" name="Straight Connector 4151">
            <a:extLst>
              <a:ext uri="{FF2B5EF4-FFF2-40B4-BE49-F238E27FC236}">
                <a16:creationId xmlns:a16="http://schemas.microsoft.com/office/drawing/2014/main" id="{9185AE84-9FC2-8FBF-B77A-4E730C6A382D}"/>
              </a:ext>
            </a:extLst>
          </p:cNvPr>
          <p:cNvCxnSpPr>
            <a:cxnSpLocks/>
          </p:cNvCxnSpPr>
          <p:nvPr/>
        </p:nvCxnSpPr>
        <p:spPr>
          <a:xfrm flipH="1">
            <a:off x="8139960" y="1866480"/>
            <a:ext cx="11337" cy="1694400"/>
          </a:xfrm>
          <a:prstGeom prst="line">
            <a:avLst/>
          </a:prstGeom>
          <a:ln w="12700">
            <a:solidFill>
              <a:srgbClr val="DDF3D2"/>
            </a:solidFill>
          </a:ln>
          <a:effectLst/>
        </p:spPr>
        <p:style>
          <a:lnRef idx="2">
            <a:schemeClr val="accent1"/>
          </a:lnRef>
          <a:fillRef idx="0">
            <a:schemeClr val="accent1"/>
          </a:fillRef>
          <a:effectRef idx="1">
            <a:schemeClr val="accent1"/>
          </a:effectRef>
          <a:fontRef idx="minor">
            <a:schemeClr val="tx1"/>
          </a:fontRef>
        </p:style>
      </p:cxnSp>
      <p:cxnSp>
        <p:nvCxnSpPr>
          <p:cNvPr id="4153" name="Straight Connector 4152">
            <a:extLst>
              <a:ext uri="{FF2B5EF4-FFF2-40B4-BE49-F238E27FC236}">
                <a16:creationId xmlns:a16="http://schemas.microsoft.com/office/drawing/2014/main" id="{ECED3C32-D454-FDEB-AEFD-212EA35B1576}"/>
              </a:ext>
            </a:extLst>
          </p:cNvPr>
          <p:cNvCxnSpPr>
            <a:cxnSpLocks/>
          </p:cNvCxnSpPr>
          <p:nvPr/>
        </p:nvCxnSpPr>
        <p:spPr>
          <a:xfrm>
            <a:off x="10171957" y="1866480"/>
            <a:ext cx="0" cy="1694400"/>
          </a:xfrm>
          <a:prstGeom prst="line">
            <a:avLst/>
          </a:prstGeom>
          <a:ln w="12700">
            <a:solidFill>
              <a:srgbClr val="DDF3D2"/>
            </a:solidFill>
          </a:ln>
          <a:effectLst/>
        </p:spPr>
        <p:style>
          <a:lnRef idx="2">
            <a:schemeClr val="accent1"/>
          </a:lnRef>
          <a:fillRef idx="0">
            <a:schemeClr val="accent1"/>
          </a:fillRef>
          <a:effectRef idx="1">
            <a:schemeClr val="accent1"/>
          </a:effectRef>
          <a:fontRef idx="minor">
            <a:schemeClr val="tx1"/>
          </a:fontRef>
        </p:style>
      </p:cxnSp>
      <p:cxnSp>
        <p:nvCxnSpPr>
          <p:cNvPr id="4154" name="Straight Connector 4153">
            <a:extLst>
              <a:ext uri="{FF2B5EF4-FFF2-40B4-BE49-F238E27FC236}">
                <a16:creationId xmlns:a16="http://schemas.microsoft.com/office/drawing/2014/main" id="{28F90E7A-F0FE-CCA6-2FC6-9C0E615119F9}"/>
              </a:ext>
            </a:extLst>
          </p:cNvPr>
          <p:cNvCxnSpPr>
            <a:cxnSpLocks/>
          </p:cNvCxnSpPr>
          <p:nvPr/>
        </p:nvCxnSpPr>
        <p:spPr>
          <a:xfrm>
            <a:off x="8139957" y="4834005"/>
            <a:ext cx="0" cy="1694400"/>
          </a:xfrm>
          <a:prstGeom prst="line">
            <a:avLst/>
          </a:prstGeom>
          <a:ln w="12700">
            <a:solidFill>
              <a:srgbClr val="F2FBCF"/>
            </a:solidFill>
          </a:ln>
          <a:effectLst/>
        </p:spPr>
        <p:style>
          <a:lnRef idx="2">
            <a:schemeClr val="accent1"/>
          </a:lnRef>
          <a:fillRef idx="0">
            <a:schemeClr val="accent1"/>
          </a:fillRef>
          <a:effectRef idx="1">
            <a:schemeClr val="accent1"/>
          </a:effectRef>
          <a:fontRef idx="minor">
            <a:schemeClr val="tx1"/>
          </a:fontRef>
        </p:style>
      </p:cxnSp>
      <p:cxnSp>
        <p:nvCxnSpPr>
          <p:cNvPr id="4155" name="Straight Connector 4154">
            <a:extLst>
              <a:ext uri="{FF2B5EF4-FFF2-40B4-BE49-F238E27FC236}">
                <a16:creationId xmlns:a16="http://schemas.microsoft.com/office/drawing/2014/main" id="{4B877FB4-7109-F222-82FD-F4F8F19F3CC8}"/>
              </a:ext>
            </a:extLst>
          </p:cNvPr>
          <p:cNvCxnSpPr>
            <a:cxnSpLocks/>
          </p:cNvCxnSpPr>
          <p:nvPr/>
        </p:nvCxnSpPr>
        <p:spPr>
          <a:xfrm>
            <a:off x="10171957" y="4834005"/>
            <a:ext cx="0" cy="1694400"/>
          </a:xfrm>
          <a:prstGeom prst="line">
            <a:avLst/>
          </a:prstGeom>
          <a:ln w="12700">
            <a:solidFill>
              <a:srgbClr val="F2FBCF"/>
            </a:solidFill>
          </a:ln>
          <a:effectLst/>
        </p:spPr>
        <p:style>
          <a:lnRef idx="2">
            <a:schemeClr val="accent1"/>
          </a:lnRef>
          <a:fillRef idx="0">
            <a:schemeClr val="accent1"/>
          </a:fillRef>
          <a:effectRef idx="1">
            <a:schemeClr val="accent1"/>
          </a:effectRef>
          <a:fontRef idx="minor">
            <a:schemeClr val="tx1"/>
          </a:fontRef>
        </p:style>
      </p:cxnSp>
      <p:sp>
        <p:nvSpPr>
          <p:cNvPr id="4169" name="Rectangle 4168">
            <a:extLst>
              <a:ext uri="{FF2B5EF4-FFF2-40B4-BE49-F238E27FC236}">
                <a16:creationId xmlns:a16="http://schemas.microsoft.com/office/drawing/2014/main" id="{EB937A42-AF5F-55CD-5950-AFADC79AED87}"/>
              </a:ext>
            </a:extLst>
          </p:cNvPr>
          <p:cNvSpPr/>
          <p:nvPr/>
        </p:nvSpPr>
        <p:spPr>
          <a:xfrm>
            <a:off x="463109" y="2568256"/>
            <a:ext cx="1016639" cy="88875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defRPr/>
            </a:pPr>
            <a:r>
              <a:rPr lang="en-GB" sz="4267" b="1" dirty="0">
                <a:solidFill>
                  <a:srgbClr val="71B790"/>
                </a:solidFill>
                <a:latin typeface="Verdana"/>
              </a:rPr>
              <a:t>35</a:t>
            </a:r>
          </a:p>
        </p:txBody>
      </p:sp>
      <p:sp>
        <p:nvSpPr>
          <p:cNvPr id="4170" name="Rectangle 4169">
            <a:extLst>
              <a:ext uri="{FF2B5EF4-FFF2-40B4-BE49-F238E27FC236}">
                <a16:creationId xmlns:a16="http://schemas.microsoft.com/office/drawing/2014/main" id="{3D442B57-A750-748D-E81E-D9A1A8F2927A}"/>
              </a:ext>
            </a:extLst>
          </p:cNvPr>
          <p:cNvSpPr/>
          <p:nvPr/>
        </p:nvSpPr>
        <p:spPr>
          <a:xfrm>
            <a:off x="3" y="1841276"/>
            <a:ext cx="2028023"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Active pilots/</a:t>
            </a:r>
          </a:p>
          <a:p>
            <a:pPr algn="ctr" defTabSz="1219020"/>
            <a:r>
              <a:rPr lang="en-GB" sz="1067" b="1">
                <a:solidFill>
                  <a:srgbClr val="002C6C"/>
                </a:solidFill>
                <a:latin typeface="Verdana"/>
              </a:rPr>
              <a:t>implementations</a:t>
            </a:r>
          </a:p>
        </p:txBody>
      </p:sp>
      <p:sp>
        <p:nvSpPr>
          <p:cNvPr id="4171" name="Rectangle 4170">
            <a:extLst>
              <a:ext uri="{FF2B5EF4-FFF2-40B4-BE49-F238E27FC236}">
                <a16:creationId xmlns:a16="http://schemas.microsoft.com/office/drawing/2014/main" id="{BE953FA8-2DD4-3EB6-621D-8371615C4E03}"/>
              </a:ext>
            </a:extLst>
          </p:cNvPr>
          <p:cNvSpPr/>
          <p:nvPr/>
        </p:nvSpPr>
        <p:spPr>
          <a:xfrm>
            <a:off x="2023894" y="1841276"/>
            <a:ext cx="2028927"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Sector </a:t>
            </a:r>
            <a:br>
              <a:rPr lang="en-GB" sz="1067" b="1">
                <a:solidFill>
                  <a:srgbClr val="002C6C"/>
                </a:solidFill>
                <a:latin typeface="Verdana"/>
              </a:rPr>
            </a:br>
            <a:r>
              <a:rPr lang="en-GB" sz="1067" b="1">
                <a:solidFill>
                  <a:srgbClr val="002C6C"/>
                </a:solidFill>
                <a:latin typeface="Verdana"/>
              </a:rPr>
              <a:t>Relevance</a:t>
            </a:r>
          </a:p>
        </p:txBody>
      </p:sp>
      <p:grpSp>
        <p:nvGrpSpPr>
          <p:cNvPr id="4172" name="Group 4171">
            <a:extLst>
              <a:ext uri="{FF2B5EF4-FFF2-40B4-BE49-F238E27FC236}">
                <a16:creationId xmlns:a16="http://schemas.microsoft.com/office/drawing/2014/main" id="{DC91D21F-E73C-1F2F-EDB0-71E6ADD3CB1E}"/>
              </a:ext>
            </a:extLst>
          </p:cNvPr>
          <p:cNvGrpSpPr/>
          <p:nvPr/>
        </p:nvGrpSpPr>
        <p:grpSpPr>
          <a:xfrm>
            <a:off x="2196045" y="2462565"/>
            <a:ext cx="1684625" cy="1081595"/>
            <a:chOff x="1697543" y="1465924"/>
            <a:chExt cx="1263469" cy="811196"/>
          </a:xfrm>
        </p:grpSpPr>
        <p:pic>
          <p:nvPicPr>
            <p:cNvPr id="4173" name="Picture 4" descr="A preview of asset 2301">
              <a:extLst>
                <a:ext uri="{FF2B5EF4-FFF2-40B4-BE49-F238E27FC236}">
                  <a16:creationId xmlns:a16="http://schemas.microsoft.com/office/drawing/2014/main" id="{DA010497-8722-6566-6F3C-CC267BDF9A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97543" y="1465924"/>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174" name="Picture 8" descr="A preview of asset 2296">
              <a:extLst>
                <a:ext uri="{FF2B5EF4-FFF2-40B4-BE49-F238E27FC236}">
                  <a16:creationId xmlns:a16="http://schemas.microsoft.com/office/drawing/2014/main" id="{B10ACC5A-4834-0EE8-6751-23EA489AF4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97543" y="191381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175" name="Picture 2" descr="A preview of asset 2279">
              <a:extLst>
                <a:ext uri="{FF2B5EF4-FFF2-40B4-BE49-F238E27FC236}">
                  <a16:creationId xmlns:a16="http://schemas.microsoft.com/office/drawing/2014/main" id="{E8DB6B9D-AB4A-6F81-13CB-70CEC587520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4458" y="1465924"/>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176" name="Picture 10" descr="A preview of asset 2287">
              <a:extLst>
                <a:ext uri="{FF2B5EF4-FFF2-40B4-BE49-F238E27FC236}">
                  <a16:creationId xmlns:a16="http://schemas.microsoft.com/office/drawing/2014/main" id="{1E4448DC-9635-E288-D0F8-60E0325F058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4458" y="19171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177" name="Picture 14" descr="A preview of asset 6724">
              <a:extLst>
                <a:ext uri="{FF2B5EF4-FFF2-40B4-BE49-F238E27FC236}">
                  <a16:creationId xmlns:a16="http://schemas.microsoft.com/office/drawing/2014/main" id="{956D8ABF-0530-836F-7649-0E192751B33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86612" y="1700199"/>
              <a:ext cx="374400" cy="374400"/>
            </a:xfrm>
            <a:prstGeom prst="rect">
              <a:avLst/>
            </a:prstGeom>
            <a:noFill/>
            <a:extLst>
              <a:ext uri="{909E8E84-426E-40DD-AFC4-6F175D3DCCD1}">
                <a14:hiddenFill xmlns:a14="http://schemas.microsoft.com/office/drawing/2010/main">
                  <a:solidFill>
                    <a:srgbClr val="FFFFFF"/>
                  </a:solidFill>
                </a14:hiddenFill>
              </a:ext>
            </a:extLst>
          </p:spPr>
        </p:pic>
      </p:grpSp>
      <p:sp>
        <p:nvSpPr>
          <p:cNvPr id="4178" name="Rectangle 4177">
            <a:extLst>
              <a:ext uri="{FF2B5EF4-FFF2-40B4-BE49-F238E27FC236}">
                <a16:creationId xmlns:a16="http://schemas.microsoft.com/office/drawing/2014/main" id="{7ED1B74B-3C28-A10D-C3FE-0A1BF438684D}"/>
              </a:ext>
            </a:extLst>
          </p:cNvPr>
          <p:cNvSpPr/>
          <p:nvPr/>
        </p:nvSpPr>
        <p:spPr>
          <a:xfrm>
            <a:off x="4048688" y="1841276"/>
            <a:ext cx="2039960"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Industry </a:t>
            </a:r>
            <a:br>
              <a:rPr lang="en-GB" sz="1067" b="1">
                <a:solidFill>
                  <a:srgbClr val="002C6C"/>
                </a:solidFill>
                <a:latin typeface="Verdana"/>
              </a:rPr>
            </a:br>
            <a:r>
              <a:rPr lang="en-GB" sz="1067" b="1">
                <a:solidFill>
                  <a:srgbClr val="002C6C"/>
                </a:solidFill>
                <a:latin typeface="Verdana"/>
              </a:rPr>
              <a:t>Participants*</a:t>
            </a:r>
          </a:p>
        </p:txBody>
      </p:sp>
      <p:sp>
        <p:nvSpPr>
          <p:cNvPr id="4185" name="Rectangle 4184">
            <a:extLst>
              <a:ext uri="{FF2B5EF4-FFF2-40B4-BE49-F238E27FC236}">
                <a16:creationId xmlns:a16="http://schemas.microsoft.com/office/drawing/2014/main" id="{22F8335C-B77F-91DE-23C6-43F6B969EEE9}"/>
              </a:ext>
            </a:extLst>
          </p:cNvPr>
          <p:cNvSpPr/>
          <p:nvPr/>
        </p:nvSpPr>
        <p:spPr>
          <a:xfrm>
            <a:off x="6119842" y="1841276"/>
            <a:ext cx="2028023"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Active pilots/</a:t>
            </a:r>
          </a:p>
          <a:p>
            <a:pPr algn="ctr" defTabSz="1219020"/>
            <a:r>
              <a:rPr lang="en-GB" sz="1067" b="1">
                <a:solidFill>
                  <a:srgbClr val="002C6C"/>
                </a:solidFill>
                <a:latin typeface="Verdana"/>
              </a:rPr>
              <a:t>implementations</a:t>
            </a:r>
          </a:p>
        </p:txBody>
      </p:sp>
      <p:sp>
        <p:nvSpPr>
          <p:cNvPr id="4186" name="Rectangle 4185">
            <a:extLst>
              <a:ext uri="{FF2B5EF4-FFF2-40B4-BE49-F238E27FC236}">
                <a16:creationId xmlns:a16="http://schemas.microsoft.com/office/drawing/2014/main" id="{4033AE9C-B3E4-75E6-C943-6CA0C1AF9276}"/>
              </a:ext>
            </a:extLst>
          </p:cNvPr>
          <p:cNvSpPr/>
          <p:nvPr/>
        </p:nvSpPr>
        <p:spPr>
          <a:xfrm>
            <a:off x="8143733" y="1841276"/>
            <a:ext cx="2028927"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Sector </a:t>
            </a:r>
            <a:br>
              <a:rPr lang="en-GB" sz="1067" b="1">
                <a:solidFill>
                  <a:srgbClr val="002C6C"/>
                </a:solidFill>
                <a:latin typeface="Verdana"/>
              </a:rPr>
            </a:br>
            <a:r>
              <a:rPr lang="en-GB" sz="1067" b="1">
                <a:solidFill>
                  <a:srgbClr val="002C6C"/>
                </a:solidFill>
                <a:latin typeface="Verdana"/>
              </a:rPr>
              <a:t>Relevance</a:t>
            </a:r>
          </a:p>
        </p:txBody>
      </p:sp>
      <p:sp>
        <p:nvSpPr>
          <p:cNvPr id="4187" name="Rectangle 4186">
            <a:extLst>
              <a:ext uri="{FF2B5EF4-FFF2-40B4-BE49-F238E27FC236}">
                <a16:creationId xmlns:a16="http://schemas.microsoft.com/office/drawing/2014/main" id="{E33E9EBE-76E2-BE77-0D5F-852C866B55DB}"/>
              </a:ext>
            </a:extLst>
          </p:cNvPr>
          <p:cNvSpPr/>
          <p:nvPr/>
        </p:nvSpPr>
        <p:spPr>
          <a:xfrm>
            <a:off x="10168527" y="1841276"/>
            <a:ext cx="2039960"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Industry </a:t>
            </a:r>
            <a:br>
              <a:rPr lang="en-GB" sz="1067" b="1">
                <a:solidFill>
                  <a:srgbClr val="002C6C"/>
                </a:solidFill>
                <a:latin typeface="Verdana"/>
              </a:rPr>
            </a:br>
            <a:r>
              <a:rPr lang="en-GB" sz="1067" b="1">
                <a:solidFill>
                  <a:srgbClr val="002C6C"/>
                </a:solidFill>
                <a:latin typeface="Verdana"/>
              </a:rPr>
              <a:t>Participants*</a:t>
            </a:r>
          </a:p>
        </p:txBody>
      </p:sp>
      <p:sp>
        <p:nvSpPr>
          <p:cNvPr id="4190" name="Rectangle 4189">
            <a:extLst>
              <a:ext uri="{FF2B5EF4-FFF2-40B4-BE49-F238E27FC236}">
                <a16:creationId xmlns:a16="http://schemas.microsoft.com/office/drawing/2014/main" id="{08F21C78-B999-9DE8-0989-E1BBA8E6282B}"/>
              </a:ext>
            </a:extLst>
          </p:cNvPr>
          <p:cNvSpPr/>
          <p:nvPr/>
        </p:nvSpPr>
        <p:spPr>
          <a:xfrm>
            <a:off x="3675" y="4927723"/>
            <a:ext cx="2028023"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Active pilots/</a:t>
            </a:r>
          </a:p>
          <a:p>
            <a:pPr algn="ctr" defTabSz="1219020"/>
            <a:r>
              <a:rPr lang="en-GB" sz="1067" b="1">
                <a:solidFill>
                  <a:srgbClr val="002C6C"/>
                </a:solidFill>
                <a:latin typeface="Verdana"/>
              </a:rPr>
              <a:t>implementations</a:t>
            </a:r>
          </a:p>
        </p:txBody>
      </p:sp>
      <p:sp>
        <p:nvSpPr>
          <p:cNvPr id="4191" name="Rectangle 4190">
            <a:extLst>
              <a:ext uri="{FF2B5EF4-FFF2-40B4-BE49-F238E27FC236}">
                <a16:creationId xmlns:a16="http://schemas.microsoft.com/office/drawing/2014/main" id="{30D68EC0-DBDD-A786-2838-173765DB56D6}"/>
              </a:ext>
            </a:extLst>
          </p:cNvPr>
          <p:cNvSpPr/>
          <p:nvPr/>
        </p:nvSpPr>
        <p:spPr>
          <a:xfrm>
            <a:off x="2027566" y="4927723"/>
            <a:ext cx="2028927"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Sector </a:t>
            </a:r>
            <a:br>
              <a:rPr lang="en-GB" sz="1067" b="1">
                <a:solidFill>
                  <a:srgbClr val="002C6C"/>
                </a:solidFill>
                <a:latin typeface="Verdana"/>
              </a:rPr>
            </a:br>
            <a:r>
              <a:rPr lang="en-GB" sz="1067" b="1">
                <a:solidFill>
                  <a:srgbClr val="002C6C"/>
                </a:solidFill>
                <a:latin typeface="Verdana"/>
              </a:rPr>
              <a:t>Relevance</a:t>
            </a:r>
          </a:p>
        </p:txBody>
      </p:sp>
      <p:sp>
        <p:nvSpPr>
          <p:cNvPr id="4192" name="Rectangle 4191">
            <a:extLst>
              <a:ext uri="{FF2B5EF4-FFF2-40B4-BE49-F238E27FC236}">
                <a16:creationId xmlns:a16="http://schemas.microsoft.com/office/drawing/2014/main" id="{1819ED7C-8EEF-7421-21D5-20F8DE36A590}"/>
              </a:ext>
            </a:extLst>
          </p:cNvPr>
          <p:cNvSpPr/>
          <p:nvPr/>
        </p:nvSpPr>
        <p:spPr>
          <a:xfrm>
            <a:off x="4052360" y="4927723"/>
            <a:ext cx="2039960"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Industry </a:t>
            </a:r>
            <a:br>
              <a:rPr lang="en-GB" sz="1067" b="1">
                <a:solidFill>
                  <a:srgbClr val="002C6C"/>
                </a:solidFill>
                <a:latin typeface="Verdana"/>
              </a:rPr>
            </a:br>
            <a:r>
              <a:rPr lang="en-GB" sz="1067" b="1">
                <a:solidFill>
                  <a:srgbClr val="002C6C"/>
                </a:solidFill>
                <a:latin typeface="Verdana"/>
              </a:rPr>
              <a:t>Participants*</a:t>
            </a:r>
          </a:p>
        </p:txBody>
      </p:sp>
      <p:sp>
        <p:nvSpPr>
          <p:cNvPr id="4194" name="Rectangle 4193">
            <a:extLst>
              <a:ext uri="{FF2B5EF4-FFF2-40B4-BE49-F238E27FC236}">
                <a16:creationId xmlns:a16="http://schemas.microsoft.com/office/drawing/2014/main" id="{E55E3877-1963-46EE-97F6-67F1DCE0CF16}"/>
              </a:ext>
            </a:extLst>
          </p:cNvPr>
          <p:cNvSpPr/>
          <p:nvPr/>
        </p:nvSpPr>
        <p:spPr>
          <a:xfrm>
            <a:off x="6099665" y="4927723"/>
            <a:ext cx="2028023"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Active pilots/</a:t>
            </a:r>
          </a:p>
          <a:p>
            <a:pPr algn="ctr" defTabSz="1219020"/>
            <a:r>
              <a:rPr lang="en-GB" sz="1067" b="1">
                <a:solidFill>
                  <a:srgbClr val="002C6C"/>
                </a:solidFill>
                <a:latin typeface="Verdana"/>
              </a:rPr>
              <a:t>implementations</a:t>
            </a:r>
          </a:p>
        </p:txBody>
      </p:sp>
      <p:sp>
        <p:nvSpPr>
          <p:cNvPr id="4195" name="Rectangle 4194">
            <a:extLst>
              <a:ext uri="{FF2B5EF4-FFF2-40B4-BE49-F238E27FC236}">
                <a16:creationId xmlns:a16="http://schemas.microsoft.com/office/drawing/2014/main" id="{B53263AD-F3D7-3A85-E0E5-214F9E575344}"/>
              </a:ext>
            </a:extLst>
          </p:cNvPr>
          <p:cNvSpPr/>
          <p:nvPr/>
        </p:nvSpPr>
        <p:spPr>
          <a:xfrm>
            <a:off x="8123555" y="4927723"/>
            <a:ext cx="2028927"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Sector </a:t>
            </a:r>
            <a:br>
              <a:rPr lang="en-GB" sz="1067" b="1">
                <a:solidFill>
                  <a:srgbClr val="002C6C"/>
                </a:solidFill>
                <a:latin typeface="Verdana"/>
              </a:rPr>
            </a:br>
            <a:r>
              <a:rPr lang="en-GB" sz="1067" b="1">
                <a:solidFill>
                  <a:srgbClr val="002C6C"/>
                </a:solidFill>
                <a:latin typeface="Verdana"/>
              </a:rPr>
              <a:t>Relevance</a:t>
            </a:r>
          </a:p>
        </p:txBody>
      </p:sp>
      <p:sp>
        <p:nvSpPr>
          <p:cNvPr id="4196" name="Rectangle 4195">
            <a:extLst>
              <a:ext uri="{FF2B5EF4-FFF2-40B4-BE49-F238E27FC236}">
                <a16:creationId xmlns:a16="http://schemas.microsoft.com/office/drawing/2014/main" id="{9E762640-B1F7-63D1-77BD-7AF34AC4802C}"/>
              </a:ext>
            </a:extLst>
          </p:cNvPr>
          <p:cNvSpPr/>
          <p:nvPr/>
        </p:nvSpPr>
        <p:spPr>
          <a:xfrm>
            <a:off x="10148349" y="4927723"/>
            <a:ext cx="2039960"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GB" sz="1067" b="1">
                <a:solidFill>
                  <a:srgbClr val="002C6C"/>
                </a:solidFill>
                <a:latin typeface="Verdana"/>
              </a:rPr>
              <a:t>Industry </a:t>
            </a:r>
            <a:br>
              <a:rPr lang="en-GB" sz="1067" b="1">
                <a:solidFill>
                  <a:srgbClr val="002C6C"/>
                </a:solidFill>
                <a:latin typeface="Verdana"/>
              </a:rPr>
            </a:br>
            <a:r>
              <a:rPr lang="en-GB" sz="1067" b="1">
                <a:solidFill>
                  <a:srgbClr val="002C6C"/>
                </a:solidFill>
                <a:latin typeface="Verdana"/>
              </a:rPr>
              <a:t>Participants*</a:t>
            </a:r>
          </a:p>
        </p:txBody>
      </p:sp>
      <p:sp>
        <p:nvSpPr>
          <p:cNvPr id="4197" name="Rectangle 4196">
            <a:extLst>
              <a:ext uri="{FF2B5EF4-FFF2-40B4-BE49-F238E27FC236}">
                <a16:creationId xmlns:a16="http://schemas.microsoft.com/office/drawing/2014/main" id="{3309CAB9-A185-9C06-A99A-4C3BBAA85795}"/>
              </a:ext>
            </a:extLst>
          </p:cNvPr>
          <p:cNvSpPr/>
          <p:nvPr/>
        </p:nvSpPr>
        <p:spPr>
          <a:xfrm>
            <a:off x="6599733" y="2524127"/>
            <a:ext cx="1064331" cy="88875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US" sz="4267" b="1" dirty="0">
                <a:solidFill>
                  <a:srgbClr val="92D050"/>
                </a:solidFill>
                <a:latin typeface="Verdana"/>
              </a:rPr>
              <a:t>11</a:t>
            </a:r>
            <a:endParaRPr lang="en-GB" sz="4267" b="1" dirty="0">
              <a:solidFill>
                <a:srgbClr val="92D050"/>
              </a:solidFill>
              <a:latin typeface="Verdana"/>
            </a:endParaRPr>
          </a:p>
        </p:txBody>
      </p:sp>
      <p:grpSp>
        <p:nvGrpSpPr>
          <p:cNvPr id="4198" name="Group 4197">
            <a:extLst>
              <a:ext uri="{FF2B5EF4-FFF2-40B4-BE49-F238E27FC236}">
                <a16:creationId xmlns:a16="http://schemas.microsoft.com/office/drawing/2014/main" id="{867618E7-1ABF-436C-5DF0-24C14169ACE7}"/>
              </a:ext>
            </a:extLst>
          </p:cNvPr>
          <p:cNvGrpSpPr/>
          <p:nvPr/>
        </p:nvGrpSpPr>
        <p:grpSpPr>
          <a:xfrm>
            <a:off x="8315884" y="2417204"/>
            <a:ext cx="1684625" cy="1081595"/>
            <a:chOff x="1697543" y="1465924"/>
            <a:chExt cx="1263469" cy="811196"/>
          </a:xfrm>
        </p:grpSpPr>
        <p:pic>
          <p:nvPicPr>
            <p:cNvPr id="4199" name="Picture 4" descr="A preview of asset 2301">
              <a:extLst>
                <a:ext uri="{FF2B5EF4-FFF2-40B4-BE49-F238E27FC236}">
                  <a16:creationId xmlns:a16="http://schemas.microsoft.com/office/drawing/2014/main" id="{46036211-AF13-260C-D4E4-387AC7F097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97543" y="1465924"/>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00" name="Picture 8" descr="A preview of asset 2296">
              <a:extLst>
                <a:ext uri="{FF2B5EF4-FFF2-40B4-BE49-F238E27FC236}">
                  <a16:creationId xmlns:a16="http://schemas.microsoft.com/office/drawing/2014/main" id="{B2E90E92-A7E5-1BE6-64D8-799A2C43AF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97543" y="191381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01" name="Picture 2" descr="A preview of asset 2279">
              <a:extLst>
                <a:ext uri="{FF2B5EF4-FFF2-40B4-BE49-F238E27FC236}">
                  <a16:creationId xmlns:a16="http://schemas.microsoft.com/office/drawing/2014/main" id="{377C9B57-A273-A12D-36E4-5490573D35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4458" y="1465924"/>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02" name="Picture 10" descr="A preview of asset 2287">
              <a:extLst>
                <a:ext uri="{FF2B5EF4-FFF2-40B4-BE49-F238E27FC236}">
                  <a16:creationId xmlns:a16="http://schemas.microsoft.com/office/drawing/2014/main" id="{6E6925A8-174F-0825-C281-D9F594C40F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4458" y="19171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03" name="Picture 14" descr="A preview of asset 6724">
              <a:extLst>
                <a:ext uri="{FF2B5EF4-FFF2-40B4-BE49-F238E27FC236}">
                  <a16:creationId xmlns:a16="http://schemas.microsoft.com/office/drawing/2014/main" id="{2B1C6135-EA93-893B-F358-2F06A2F56CF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86612" y="1700199"/>
              <a:ext cx="374400" cy="37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04" name="Group 4203">
            <a:extLst>
              <a:ext uri="{FF2B5EF4-FFF2-40B4-BE49-F238E27FC236}">
                <a16:creationId xmlns:a16="http://schemas.microsoft.com/office/drawing/2014/main" id="{91742208-DCA0-ACF3-52F9-BA26B11704DC}"/>
              </a:ext>
            </a:extLst>
          </p:cNvPr>
          <p:cNvGrpSpPr/>
          <p:nvPr/>
        </p:nvGrpSpPr>
        <p:grpSpPr>
          <a:xfrm>
            <a:off x="10568148" y="2270873"/>
            <a:ext cx="1240717" cy="1415339"/>
            <a:chOff x="7895801" y="1352960"/>
            <a:chExt cx="930538" cy="1061504"/>
          </a:xfrm>
        </p:grpSpPr>
        <p:grpSp>
          <p:nvGrpSpPr>
            <p:cNvPr id="4205" name="Group 4204">
              <a:extLst>
                <a:ext uri="{FF2B5EF4-FFF2-40B4-BE49-F238E27FC236}">
                  <a16:creationId xmlns:a16="http://schemas.microsoft.com/office/drawing/2014/main" id="{5564C3F9-4D91-0B17-C308-B6996818466F}"/>
                </a:ext>
              </a:extLst>
            </p:cNvPr>
            <p:cNvGrpSpPr/>
            <p:nvPr/>
          </p:nvGrpSpPr>
          <p:grpSpPr>
            <a:xfrm>
              <a:off x="7895801" y="1352960"/>
              <a:ext cx="930310" cy="728018"/>
              <a:chOff x="7900618" y="1456160"/>
              <a:chExt cx="930310" cy="728018"/>
            </a:xfrm>
          </p:grpSpPr>
          <p:pic>
            <p:nvPicPr>
              <p:cNvPr id="4207" name="Picture 32" descr="MadeiraMadeira | Loja de Móveis, Decoração e Construção">
                <a:extLst>
                  <a:ext uri="{FF2B5EF4-FFF2-40B4-BE49-F238E27FC236}">
                    <a16:creationId xmlns:a16="http://schemas.microsoft.com/office/drawing/2014/main" id="{DF6D8E79-83AF-A286-2A46-F7A626C364A9}"/>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65902" y="145616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08" name="Picture 34" descr="chemist warehouse Download png">
                <a:extLst>
                  <a:ext uri="{FF2B5EF4-FFF2-40B4-BE49-F238E27FC236}">
                    <a16:creationId xmlns:a16="http://schemas.microsoft.com/office/drawing/2014/main" id="{8389AF25-9CE2-3E30-B0F3-EBD5044A6263}"/>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96254" y="1473779"/>
                <a:ext cx="334259" cy="334259"/>
              </a:xfrm>
              <a:prstGeom prst="rect">
                <a:avLst/>
              </a:prstGeom>
              <a:noFill/>
              <a:extLst>
                <a:ext uri="{909E8E84-426E-40DD-AFC4-6F175D3DCCD1}">
                  <a14:hiddenFill xmlns:a14="http://schemas.microsoft.com/office/drawing/2010/main">
                    <a:solidFill>
                      <a:srgbClr val="FFFFFF"/>
                    </a:solidFill>
                  </a14:hiddenFill>
                </a:ext>
              </a:extLst>
            </p:spPr>
          </p:pic>
          <p:pic>
            <p:nvPicPr>
              <p:cNvPr id="4209" name="Picture 38" descr="JoinData › Kennispartner JoinData | Melkvee.nl - Nieuws en kennis voor de  melkveehouder">
                <a:extLst>
                  <a:ext uri="{FF2B5EF4-FFF2-40B4-BE49-F238E27FC236}">
                    <a16:creationId xmlns:a16="http://schemas.microsoft.com/office/drawing/2014/main" id="{0C0FA023-65C9-C27E-13E0-7603354BCE08}"/>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00618" y="1914388"/>
                <a:ext cx="930310" cy="269790"/>
              </a:xfrm>
              <a:prstGeom prst="rect">
                <a:avLst/>
              </a:prstGeom>
              <a:noFill/>
              <a:extLst>
                <a:ext uri="{909E8E84-426E-40DD-AFC4-6F175D3DCCD1}">
                  <a14:hiddenFill xmlns:a14="http://schemas.microsoft.com/office/drawing/2010/main">
                    <a:solidFill>
                      <a:srgbClr val="FFFFFF"/>
                    </a:solidFill>
                  </a14:hiddenFill>
                </a:ext>
              </a:extLst>
            </p:spPr>
          </p:pic>
        </p:grpSp>
        <p:pic>
          <p:nvPicPr>
            <p:cNvPr id="4206" name="Picture 40">
              <a:extLst>
                <a:ext uri="{FF2B5EF4-FFF2-40B4-BE49-F238E27FC236}">
                  <a16:creationId xmlns:a16="http://schemas.microsoft.com/office/drawing/2014/main" id="{11C0F059-42D6-80D0-3D4B-1A1DB768E4E6}"/>
                </a:ext>
              </a:extLst>
            </p:cNvPr>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04292" y="2136494"/>
              <a:ext cx="922047" cy="277970"/>
            </a:xfrm>
            <a:prstGeom prst="rect">
              <a:avLst/>
            </a:prstGeom>
            <a:noFill/>
            <a:extLst>
              <a:ext uri="{909E8E84-426E-40DD-AFC4-6F175D3DCCD1}">
                <a14:hiddenFill xmlns:a14="http://schemas.microsoft.com/office/drawing/2010/main">
                  <a:solidFill>
                    <a:srgbClr val="FFFFFF"/>
                  </a:solidFill>
                </a14:hiddenFill>
              </a:ext>
            </a:extLst>
          </p:spPr>
        </p:pic>
      </p:grpSp>
      <p:sp>
        <p:nvSpPr>
          <p:cNvPr id="4210" name="Rectangle 4209">
            <a:extLst>
              <a:ext uri="{FF2B5EF4-FFF2-40B4-BE49-F238E27FC236}">
                <a16:creationId xmlns:a16="http://schemas.microsoft.com/office/drawing/2014/main" id="{1B9810E2-84F5-AB28-0E00-9939D6345238}"/>
              </a:ext>
            </a:extLst>
          </p:cNvPr>
          <p:cNvSpPr/>
          <p:nvPr/>
        </p:nvSpPr>
        <p:spPr>
          <a:xfrm>
            <a:off x="438493" y="5470898"/>
            <a:ext cx="1053241" cy="88875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US" sz="4267" b="1" dirty="0">
                <a:solidFill>
                  <a:srgbClr val="F26334"/>
                </a:solidFill>
                <a:latin typeface="Verdana"/>
              </a:rPr>
              <a:t>1</a:t>
            </a:r>
            <a:r>
              <a:rPr lang="en-GB" sz="4267" b="1" dirty="0">
                <a:solidFill>
                  <a:srgbClr val="F26334"/>
                </a:solidFill>
                <a:latin typeface="Verdana"/>
              </a:rPr>
              <a:t>0</a:t>
            </a:r>
          </a:p>
        </p:txBody>
      </p:sp>
      <p:grpSp>
        <p:nvGrpSpPr>
          <p:cNvPr id="4212" name="Group 4211">
            <a:extLst>
              <a:ext uri="{FF2B5EF4-FFF2-40B4-BE49-F238E27FC236}">
                <a16:creationId xmlns:a16="http://schemas.microsoft.com/office/drawing/2014/main" id="{A0E9A435-8BD5-2CB9-A997-805B138728B9}"/>
              </a:ext>
            </a:extLst>
          </p:cNvPr>
          <p:cNvGrpSpPr/>
          <p:nvPr/>
        </p:nvGrpSpPr>
        <p:grpSpPr>
          <a:xfrm>
            <a:off x="4237682" y="5407669"/>
            <a:ext cx="1685209" cy="1175673"/>
            <a:chOff x="3185875" y="4023325"/>
            <a:chExt cx="1263907" cy="881755"/>
          </a:xfrm>
        </p:grpSpPr>
        <p:pic>
          <p:nvPicPr>
            <p:cNvPr id="4213" name="Picture 22" descr="China Customs expertise and logistics advisory services">
              <a:extLst>
                <a:ext uri="{FF2B5EF4-FFF2-40B4-BE49-F238E27FC236}">
                  <a16:creationId xmlns:a16="http://schemas.microsoft.com/office/drawing/2014/main" id="{D96CE6C8-308E-6FDD-5AE7-13F2028C04B7}"/>
                </a:ext>
              </a:extLst>
            </p:cNvPr>
            <p:cNvPicPr>
              <a:picLocks noChangeAspect="1" noChangeArrowheads="1"/>
            </p:cNvPicPr>
            <p:nvPr/>
          </p:nvPicPr>
          <p:blipFill>
            <a:blip r:embed="rId1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185875" y="40344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14" name="Picture 24">
              <a:extLst>
                <a:ext uri="{FF2B5EF4-FFF2-40B4-BE49-F238E27FC236}">
                  <a16:creationId xmlns:a16="http://schemas.microsoft.com/office/drawing/2014/main" id="{91D2A396-93B2-4ED9-AD1E-2B6225CCCC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637828" y="4032534"/>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15" name="Picture 26" descr="Receita Federal do Brasil – Wikipédia, a enciclopédia livre">
              <a:extLst>
                <a:ext uri="{FF2B5EF4-FFF2-40B4-BE49-F238E27FC236}">
                  <a16:creationId xmlns:a16="http://schemas.microsoft.com/office/drawing/2014/main" id="{2E2D7E88-0C55-DCF0-3E5C-8DD9406B5F2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302645" y="4545080"/>
              <a:ext cx="419778"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16" name="Picture 28">
              <a:extLst>
                <a:ext uri="{FF2B5EF4-FFF2-40B4-BE49-F238E27FC236}">
                  <a16:creationId xmlns:a16="http://schemas.microsoft.com/office/drawing/2014/main" id="{7636C535-C6AB-3A22-36E5-097548BCD33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29372" y="454508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17" name="Picture 30" descr="AfCFTA Secretariat Official (@AfCFTA) / X">
              <a:extLst>
                <a:ext uri="{FF2B5EF4-FFF2-40B4-BE49-F238E27FC236}">
                  <a16:creationId xmlns:a16="http://schemas.microsoft.com/office/drawing/2014/main" id="{79D3D3F1-9DBE-ECC6-9676-C7A855B1B5F9}"/>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89782" y="4023325"/>
              <a:ext cx="360000" cy="360000"/>
            </a:xfrm>
            <a:prstGeom prst="rect">
              <a:avLst/>
            </a:prstGeom>
            <a:noFill/>
            <a:extLst>
              <a:ext uri="{909E8E84-426E-40DD-AFC4-6F175D3DCCD1}">
                <a14:hiddenFill xmlns:a14="http://schemas.microsoft.com/office/drawing/2010/main">
                  <a:solidFill>
                    <a:srgbClr val="FFFFFF"/>
                  </a:solidFill>
                </a14:hiddenFill>
              </a:ext>
            </a:extLst>
          </p:spPr>
        </p:pic>
      </p:grpSp>
      <p:sp>
        <p:nvSpPr>
          <p:cNvPr id="4218" name="Rectangle 4217">
            <a:extLst>
              <a:ext uri="{FF2B5EF4-FFF2-40B4-BE49-F238E27FC236}">
                <a16:creationId xmlns:a16="http://schemas.microsoft.com/office/drawing/2014/main" id="{05CFF52E-ECB0-F817-ACE8-AADF76D9F64D}"/>
              </a:ext>
            </a:extLst>
          </p:cNvPr>
          <p:cNvSpPr/>
          <p:nvPr/>
        </p:nvSpPr>
        <p:spPr>
          <a:xfrm>
            <a:off x="6595165" y="5554140"/>
            <a:ext cx="1068899" cy="88875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r>
              <a:rPr lang="en-US" sz="4267" b="1" dirty="0">
                <a:solidFill>
                  <a:srgbClr val="C1D72F"/>
                </a:solidFill>
                <a:latin typeface="Verdana"/>
              </a:rPr>
              <a:t>1</a:t>
            </a:r>
            <a:r>
              <a:rPr lang="en-GB" sz="4267" b="1" dirty="0">
                <a:solidFill>
                  <a:srgbClr val="C1D72F"/>
                </a:solidFill>
                <a:latin typeface="Verdana"/>
              </a:rPr>
              <a:t>6</a:t>
            </a:r>
          </a:p>
        </p:txBody>
      </p:sp>
      <p:grpSp>
        <p:nvGrpSpPr>
          <p:cNvPr id="4219" name="Group 4218">
            <a:extLst>
              <a:ext uri="{FF2B5EF4-FFF2-40B4-BE49-F238E27FC236}">
                <a16:creationId xmlns:a16="http://schemas.microsoft.com/office/drawing/2014/main" id="{5347E257-A962-AB0B-2BB5-446472440477}"/>
              </a:ext>
            </a:extLst>
          </p:cNvPr>
          <p:cNvGrpSpPr/>
          <p:nvPr/>
        </p:nvGrpSpPr>
        <p:grpSpPr>
          <a:xfrm>
            <a:off x="8319316" y="5448449"/>
            <a:ext cx="1684625" cy="1081595"/>
            <a:chOff x="1697543" y="1465924"/>
            <a:chExt cx="1263469" cy="811196"/>
          </a:xfrm>
        </p:grpSpPr>
        <p:pic>
          <p:nvPicPr>
            <p:cNvPr id="4220" name="Picture 4" descr="A preview of asset 2301">
              <a:extLst>
                <a:ext uri="{FF2B5EF4-FFF2-40B4-BE49-F238E27FC236}">
                  <a16:creationId xmlns:a16="http://schemas.microsoft.com/office/drawing/2014/main" id="{7B1CE8D9-A120-F618-2E44-1A60DA5277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97543" y="1465924"/>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21" name="Picture 8" descr="A preview of asset 2296">
              <a:extLst>
                <a:ext uri="{FF2B5EF4-FFF2-40B4-BE49-F238E27FC236}">
                  <a16:creationId xmlns:a16="http://schemas.microsoft.com/office/drawing/2014/main" id="{EDDDC6CD-EC40-CF70-3A1F-E4B13D6823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97543" y="191381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22" name="Picture 2" descr="A preview of asset 2279">
              <a:extLst>
                <a:ext uri="{FF2B5EF4-FFF2-40B4-BE49-F238E27FC236}">
                  <a16:creationId xmlns:a16="http://schemas.microsoft.com/office/drawing/2014/main" id="{6C909484-806D-1FFE-34F2-15D2EE13EE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4458" y="1465924"/>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23" name="Picture 10" descr="A preview of asset 2287">
              <a:extLst>
                <a:ext uri="{FF2B5EF4-FFF2-40B4-BE49-F238E27FC236}">
                  <a16:creationId xmlns:a16="http://schemas.microsoft.com/office/drawing/2014/main" id="{2AFFD1BD-DC07-0C34-DBF0-EA2543FFCB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4458" y="19171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224" name="Picture 14" descr="A preview of asset 6724">
              <a:extLst>
                <a:ext uri="{FF2B5EF4-FFF2-40B4-BE49-F238E27FC236}">
                  <a16:creationId xmlns:a16="http://schemas.microsoft.com/office/drawing/2014/main" id="{EBD1BC13-6B1C-4EB3-06AC-DB265B5A673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86612" y="1700199"/>
              <a:ext cx="374400" cy="374400"/>
            </a:xfrm>
            <a:prstGeom prst="rect">
              <a:avLst/>
            </a:prstGeom>
            <a:noFill/>
            <a:extLst>
              <a:ext uri="{909E8E84-426E-40DD-AFC4-6F175D3DCCD1}">
                <a14:hiddenFill xmlns:a14="http://schemas.microsoft.com/office/drawing/2010/main">
                  <a:solidFill>
                    <a:srgbClr val="FFFFFF"/>
                  </a:solidFill>
                </a14:hiddenFill>
              </a:ext>
            </a:extLst>
          </p:spPr>
        </p:pic>
      </p:grpSp>
      <p:sp>
        <p:nvSpPr>
          <p:cNvPr id="4230" name="Rectangle 4229">
            <a:extLst>
              <a:ext uri="{FF2B5EF4-FFF2-40B4-BE49-F238E27FC236}">
                <a16:creationId xmlns:a16="http://schemas.microsoft.com/office/drawing/2014/main" id="{EECFBA0B-5152-6BC5-D58D-78D227C6C4AE}"/>
              </a:ext>
            </a:extLst>
          </p:cNvPr>
          <p:cNvSpPr/>
          <p:nvPr/>
        </p:nvSpPr>
        <p:spPr>
          <a:xfrm>
            <a:off x="6119286" y="6359655"/>
            <a:ext cx="2020663" cy="39103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endParaRPr lang="en-GB" sz="933" i="1" dirty="0">
              <a:solidFill>
                <a:srgbClr val="71B790"/>
              </a:solidFill>
              <a:latin typeface="Verdana"/>
            </a:endParaRPr>
          </a:p>
        </p:txBody>
      </p:sp>
      <p:sp>
        <p:nvSpPr>
          <p:cNvPr id="4233" name="Rectangle 4232">
            <a:extLst>
              <a:ext uri="{FF2B5EF4-FFF2-40B4-BE49-F238E27FC236}">
                <a16:creationId xmlns:a16="http://schemas.microsoft.com/office/drawing/2014/main" id="{03806554-9EBE-9640-ADE9-5E1A78B49644}"/>
              </a:ext>
            </a:extLst>
          </p:cNvPr>
          <p:cNvSpPr/>
          <p:nvPr/>
        </p:nvSpPr>
        <p:spPr>
          <a:xfrm>
            <a:off x="49735" y="6582925"/>
            <a:ext cx="2020663" cy="25498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1219020"/>
            <a:r>
              <a:rPr lang="en-GB" sz="800" i="1">
                <a:solidFill>
                  <a:srgbClr val="002C6C"/>
                </a:solidFill>
                <a:latin typeface="Verdana"/>
              </a:rPr>
              <a:t>*Non-exhaustive</a:t>
            </a:r>
          </a:p>
        </p:txBody>
      </p:sp>
      <p:grpSp>
        <p:nvGrpSpPr>
          <p:cNvPr id="9" name="Group 8">
            <a:extLst>
              <a:ext uri="{FF2B5EF4-FFF2-40B4-BE49-F238E27FC236}">
                <a16:creationId xmlns:a16="http://schemas.microsoft.com/office/drawing/2014/main" id="{89D8A33E-281A-446E-6A6D-2EE84B8F3DE9}"/>
              </a:ext>
            </a:extLst>
          </p:cNvPr>
          <p:cNvGrpSpPr/>
          <p:nvPr/>
        </p:nvGrpSpPr>
        <p:grpSpPr>
          <a:xfrm>
            <a:off x="3980149" y="2302006"/>
            <a:ext cx="2037907" cy="1415724"/>
            <a:chOff x="2985112" y="1726504"/>
            <a:chExt cx="1528430" cy="1061793"/>
          </a:xfrm>
        </p:grpSpPr>
        <p:grpSp>
          <p:nvGrpSpPr>
            <p:cNvPr id="4232" name="Group 4231">
              <a:extLst>
                <a:ext uri="{FF2B5EF4-FFF2-40B4-BE49-F238E27FC236}">
                  <a16:creationId xmlns:a16="http://schemas.microsoft.com/office/drawing/2014/main" id="{68356C4C-C276-69C5-E8FB-5243CDF96B08}"/>
                </a:ext>
              </a:extLst>
            </p:cNvPr>
            <p:cNvGrpSpPr/>
            <p:nvPr/>
          </p:nvGrpSpPr>
          <p:grpSpPr>
            <a:xfrm>
              <a:off x="2985112" y="1726504"/>
              <a:ext cx="1329706" cy="1017192"/>
              <a:chOff x="7561377" y="4016916"/>
              <a:chExt cx="1450320" cy="1109459"/>
            </a:xfrm>
          </p:grpSpPr>
          <p:pic>
            <p:nvPicPr>
              <p:cNvPr id="4227" name="Picture 46" descr="3 Reasons to enter the French market by selling on Cdiscount | Tradebyte  Software GmbH">
                <a:extLst>
                  <a:ext uri="{FF2B5EF4-FFF2-40B4-BE49-F238E27FC236}">
                    <a16:creationId xmlns:a16="http://schemas.microsoft.com/office/drawing/2014/main" id="{FBA61512-A1DB-DCA2-76E5-E5AD8484A8DB}"/>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27264" b="29620"/>
              <a:stretch/>
            </p:blipFill>
            <p:spPr bwMode="auto">
              <a:xfrm>
                <a:off x="7561377" y="4274824"/>
                <a:ext cx="952813" cy="167113"/>
              </a:xfrm>
              <a:prstGeom prst="rect">
                <a:avLst/>
              </a:prstGeom>
              <a:noFill/>
              <a:extLst>
                <a:ext uri="{909E8E84-426E-40DD-AFC4-6F175D3DCCD1}">
                  <a14:hiddenFill xmlns:a14="http://schemas.microsoft.com/office/drawing/2010/main">
                    <a:solidFill>
                      <a:srgbClr val="FFFFFF"/>
                    </a:solidFill>
                  </a14:hiddenFill>
                </a:ext>
              </a:extLst>
            </p:spPr>
          </p:pic>
          <p:grpSp>
            <p:nvGrpSpPr>
              <p:cNvPr id="4231" name="Group 4230">
                <a:extLst>
                  <a:ext uri="{FF2B5EF4-FFF2-40B4-BE49-F238E27FC236}">
                    <a16:creationId xmlns:a16="http://schemas.microsoft.com/office/drawing/2014/main" id="{20F855B3-06CD-73C9-91B1-643CA2F9FA1F}"/>
                  </a:ext>
                </a:extLst>
              </p:cNvPr>
              <p:cNvGrpSpPr/>
              <p:nvPr/>
            </p:nvGrpSpPr>
            <p:grpSpPr>
              <a:xfrm>
                <a:off x="7658804" y="4016916"/>
                <a:ext cx="1352893" cy="1109459"/>
                <a:chOff x="7658804" y="4016916"/>
                <a:chExt cx="1352893" cy="1109459"/>
              </a:xfrm>
            </p:grpSpPr>
            <p:pic>
              <p:nvPicPr>
                <p:cNvPr id="4225" name="Picture 42" descr="Allegro logo and symbol, meaning, history, PNG">
                  <a:extLst>
                    <a:ext uri="{FF2B5EF4-FFF2-40B4-BE49-F238E27FC236}">
                      <a16:creationId xmlns:a16="http://schemas.microsoft.com/office/drawing/2014/main" id="{A5FDEDAB-C3BE-8D98-2CD5-B6DCBD2EB9B9}"/>
                    </a:ext>
                  </a:extLst>
                </p:cNvPr>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t="23858" b="24219"/>
                <a:stretch/>
              </p:blipFill>
              <p:spPr bwMode="auto">
                <a:xfrm>
                  <a:off x="8324199" y="4018062"/>
                  <a:ext cx="687498" cy="223107"/>
                </a:xfrm>
                <a:prstGeom prst="rect">
                  <a:avLst/>
                </a:prstGeom>
                <a:noFill/>
                <a:extLst>
                  <a:ext uri="{909E8E84-426E-40DD-AFC4-6F175D3DCCD1}">
                    <a14:hiddenFill xmlns:a14="http://schemas.microsoft.com/office/drawing/2010/main">
                      <a:solidFill>
                        <a:srgbClr val="FFFFFF"/>
                      </a:solidFill>
                    </a14:hiddenFill>
                  </a:ext>
                </a:extLst>
              </p:spPr>
            </p:pic>
            <p:pic>
              <p:nvPicPr>
                <p:cNvPr id="4226" name="Picture 44" descr="Logo bol.com - pers.bol.com">
                  <a:extLst>
                    <a:ext uri="{FF2B5EF4-FFF2-40B4-BE49-F238E27FC236}">
                      <a16:creationId xmlns:a16="http://schemas.microsoft.com/office/drawing/2014/main" id="{926CD59C-C6B8-BA60-31A2-747AE42A5B9C}"/>
                    </a:ext>
                  </a:extLst>
                </p:cNvPr>
                <p:cNvPicPr>
                  <a:picLocks noChangeAspect="1" noChangeArrowheads="1"/>
                </p:cNvPicPr>
                <p:nvPr/>
              </p:nvPicPr>
              <p:blipFill rotWithShape="1">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l="12325" t="21606" r="12960" b="21090"/>
                <a:stretch/>
              </p:blipFill>
              <p:spPr bwMode="auto">
                <a:xfrm>
                  <a:off x="7706365" y="4016916"/>
                  <a:ext cx="451615" cy="189425"/>
                </a:xfrm>
                <a:prstGeom prst="rect">
                  <a:avLst/>
                </a:prstGeom>
                <a:noFill/>
                <a:extLst>
                  <a:ext uri="{909E8E84-426E-40DD-AFC4-6F175D3DCCD1}">
                    <a14:hiddenFill xmlns:a14="http://schemas.microsoft.com/office/drawing/2010/main">
                      <a:solidFill>
                        <a:srgbClr val="FFFFFF"/>
                      </a:solidFill>
                    </a14:hiddenFill>
                  </a:ext>
                </a:extLst>
              </p:spPr>
            </p:pic>
            <p:pic>
              <p:nvPicPr>
                <p:cNvPr id="4228" name="Picture 48" descr="EDI Integration with Mercado Libre | EDICOM Global">
                  <a:extLst>
                    <a:ext uri="{FF2B5EF4-FFF2-40B4-BE49-F238E27FC236}">
                      <a16:creationId xmlns:a16="http://schemas.microsoft.com/office/drawing/2014/main" id="{917ED08C-FACF-2028-FBB6-E5B85195D284}"/>
                    </a:ext>
                  </a:extLst>
                </p:cNvPr>
                <p:cNvPicPr>
                  <a:picLocks noChangeAspect="1" noChangeArrowheads="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t="23491" b="23294"/>
                <a:stretch/>
              </p:blipFill>
              <p:spPr bwMode="auto">
                <a:xfrm>
                  <a:off x="7945615" y="4531581"/>
                  <a:ext cx="945166" cy="251480"/>
                </a:xfrm>
                <a:prstGeom prst="rect">
                  <a:avLst/>
                </a:prstGeom>
                <a:noFill/>
                <a:extLst>
                  <a:ext uri="{909E8E84-426E-40DD-AFC4-6F175D3DCCD1}">
                    <a14:hiddenFill xmlns:a14="http://schemas.microsoft.com/office/drawing/2010/main">
                      <a:solidFill>
                        <a:srgbClr val="FFFFFF"/>
                      </a:solidFill>
                    </a14:hiddenFill>
                  </a:ext>
                </a:extLst>
              </p:spPr>
            </p:pic>
            <p:pic>
              <p:nvPicPr>
                <p:cNvPr id="4229" name="Picture 50">
                  <a:extLst>
                    <a:ext uri="{FF2B5EF4-FFF2-40B4-BE49-F238E27FC236}">
                      <a16:creationId xmlns:a16="http://schemas.microsoft.com/office/drawing/2014/main" id="{DBF8096F-2CFE-9BD1-460A-7E98E51DDFFE}"/>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27483" b="28599"/>
                <a:stretch/>
              </p:blipFill>
              <p:spPr bwMode="auto">
                <a:xfrm>
                  <a:off x="7658804" y="4833096"/>
                  <a:ext cx="1018654" cy="293279"/>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2050" name="Picture 2" descr="Home - The Consumer Goods Forum">
              <a:extLst>
                <a:ext uri="{FF2B5EF4-FFF2-40B4-BE49-F238E27FC236}">
                  <a16:creationId xmlns:a16="http://schemas.microsoft.com/office/drawing/2014/main" id="{7443F6D3-B202-B599-7FCC-4A790D2868DB}"/>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16097" y="2390852"/>
              <a:ext cx="397445" cy="3974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DF5F0946-6B2F-A11A-7C32-E0613EC8418D}"/>
              </a:ext>
            </a:extLst>
          </p:cNvPr>
          <p:cNvGrpSpPr/>
          <p:nvPr/>
        </p:nvGrpSpPr>
        <p:grpSpPr>
          <a:xfrm>
            <a:off x="2518319" y="5494538"/>
            <a:ext cx="1047420" cy="997716"/>
            <a:chOff x="1904294" y="4120902"/>
            <a:chExt cx="785565" cy="748287"/>
          </a:xfrm>
        </p:grpSpPr>
        <p:pic>
          <p:nvPicPr>
            <p:cNvPr id="4211" name="Picture 4" descr="A preview of asset 2301">
              <a:extLst>
                <a:ext uri="{FF2B5EF4-FFF2-40B4-BE49-F238E27FC236}">
                  <a16:creationId xmlns:a16="http://schemas.microsoft.com/office/drawing/2014/main" id="{0E15A528-2A16-8D4F-DBBD-EC16C1E5F0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3536" y="412090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0" descr="A preview of asset 2287">
              <a:extLst>
                <a:ext uri="{FF2B5EF4-FFF2-40B4-BE49-F238E27FC236}">
                  <a16:creationId xmlns:a16="http://schemas.microsoft.com/office/drawing/2014/main" id="{48D21B01-6B8E-055B-E5AB-4EC4EDCC0F6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4294" y="450781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4" descr="A preview of asset 6724">
              <a:extLst>
                <a:ext uri="{FF2B5EF4-FFF2-40B4-BE49-F238E27FC236}">
                  <a16:creationId xmlns:a16="http://schemas.microsoft.com/office/drawing/2014/main" id="{017A0672-27D3-3DD4-5BAC-BC747308645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15459" y="4494789"/>
              <a:ext cx="374400" cy="374400"/>
            </a:xfrm>
            <a:prstGeom prst="rect">
              <a:avLst/>
            </a:prstGeom>
            <a:noFill/>
            <a:extLst>
              <a:ext uri="{909E8E84-426E-40DD-AFC4-6F175D3DCCD1}">
                <a14:hiddenFill xmlns:a14="http://schemas.microsoft.com/office/drawing/2010/main">
                  <a:solidFill>
                    <a:srgbClr val="FFFFFF"/>
                  </a:solidFill>
                </a14:hiddenFill>
              </a:ext>
            </a:extLst>
          </p:spPr>
        </p:pic>
      </p:grpSp>
      <p:sp>
        <p:nvSpPr>
          <p:cNvPr id="4127" name="TextBox 4126">
            <a:extLst>
              <a:ext uri="{FF2B5EF4-FFF2-40B4-BE49-F238E27FC236}">
                <a16:creationId xmlns:a16="http://schemas.microsoft.com/office/drawing/2014/main" id="{AAF9D465-5C8C-C772-2ED6-B5188FA45E6E}"/>
              </a:ext>
            </a:extLst>
          </p:cNvPr>
          <p:cNvSpPr txBox="1"/>
          <p:nvPr/>
        </p:nvSpPr>
        <p:spPr>
          <a:xfrm>
            <a:off x="1057456" y="1108673"/>
            <a:ext cx="4780800" cy="461665"/>
          </a:xfrm>
          <a:prstGeom prst="rect">
            <a:avLst/>
          </a:prstGeom>
          <a:gradFill flip="none" rotWithShape="1">
            <a:gsLst>
              <a:gs pos="0">
                <a:srgbClr val="70B690">
                  <a:tint val="66000"/>
                  <a:satMod val="160000"/>
                </a:srgbClr>
              </a:gs>
              <a:gs pos="50000">
                <a:srgbClr val="70B690">
                  <a:tint val="44500"/>
                  <a:satMod val="160000"/>
                </a:srgbClr>
              </a:gs>
              <a:gs pos="100000">
                <a:srgbClr val="70B690">
                  <a:tint val="23500"/>
                  <a:satMod val="160000"/>
                </a:srgbClr>
              </a:gs>
            </a:gsLst>
            <a:lin ang="0" scaled="1"/>
            <a:tileRect/>
          </a:gradFill>
        </p:spPr>
        <p:txBody>
          <a:bodyPr wrap="square">
            <a:spAutoFit/>
          </a:bodyPr>
          <a:lstStyle>
            <a:defPPr>
              <a:defRPr lang="en-US"/>
            </a:defPPr>
            <a:lvl1pPr algn="ctr">
              <a:defRPr sz="1200" b="1">
                <a:solidFill>
                  <a:srgbClr val="002C6C"/>
                </a:solidFill>
              </a:defRPr>
            </a:lvl1pPr>
          </a:lstStyle>
          <a:p>
            <a:pPr algn="l" defTabSz="1219020"/>
            <a:r>
              <a:rPr lang="en-GB" sz="1600" dirty="0">
                <a:latin typeface="Verdana"/>
              </a:rPr>
              <a:t> GS1 key verification</a:t>
            </a:r>
            <a:br>
              <a:rPr lang="en-GB" sz="1600" dirty="0">
                <a:latin typeface="Verdana"/>
              </a:rPr>
            </a:br>
            <a:r>
              <a:rPr lang="en-US" sz="800" b="0" i="1" dirty="0">
                <a:latin typeface="Verdana"/>
                <a:ea typeface="Calibri" panose="020F0502020204030204" pitchFamily="34" charset="0"/>
                <a:cs typeface="Arial" panose="020B0604020202020204" pitchFamily="34" charset="0"/>
              </a:rPr>
              <a:t>access to basic information about GS1 identifiers to ensure integrity of the GS1 system</a:t>
            </a:r>
          </a:p>
        </p:txBody>
      </p:sp>
      <p:pic>
        <p:nvPicPr>
          <p:cNvPr id="2" name="Picture 2">
            <a:extLst>
              <a:ext uri="{FF2B5EF4-FFF2-40B4-BE49-F238E27FC236}">
                <a16:creationId xmlns:a16="http://schemas.microsoft.com/office/drawing/2014/main" id="{1DB65076-AF5B-8A52-3FAC-810E6F76E0C0}"/>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7523" y="910893"/>
            <a:ext cx="888000" cy="888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DEC638BB-544C-93C8-C609-771FBF5240C6}"/>
              </a:ext>
            </a:extLst>
          </p:cNvPr>
          <p:cNvGrpSpPr/>
          <p:nvPr/>
        </p:nvGrpSpPr>
        <p:grpSpPr>
          <a:xfrm>
            <a:off x="6376128" y="3961903"/>
            <a:ext cx="5558117" cy="888758"/>
            <a:chOff x="4782096" y="2971428"/>
            <a:chExt cx="4168588" cy="666569"/>
          </a:xfrm>
        </p:grpSpPr>
        <p:sp>
          <p:nvSpPr>
            <p:cNvPr id="4133" name="TextBox 4132">
              <a:extLst>
                <a:ext uri="{FF2B5EF4-FFF2-40B4-BE49-F238E27FC236}">
                  <a16:creationId xmlns:a16="http://schemas.microsoft.com/office/drawing/2014/main" id="{BA3FE885-7584-887B-FC86-8731EA1C61F3}"/>
                </a:ext>
              </a:extLst>
            </p:cNvPr>
            <p:cNvSpPr txBox="1"/>
            <p:nvPr/>
          </p:nvSpPr>
          <p:spPr>
            <a:xfrm>
              <a:off x="4782096" y="3073880"/>
              <a:ext cx="3585600" cy="438581"/>
            </a:xfrm>
            <a:prstGeom prst="rect">
              <a:avLst/>
            </a:prstGeom>
            <a:gradFill flip="none" rotWithShape="1">
              <a:gsLst>
                <a:gs pos="0">
                  <a:srgbClr val="C1D72F">
                    <a:tint val="66000"/>
                    <a:satMod val="160000"/>
                  </a:srgbClr>
                </a:gs>
                <a:gs pos="50000">
                  <a:srgbClr val="C1D72F">
                    <a:tint val="44500"/>
                    <a:satMod val="160000"/>
                  </a:srgbClr>
                </a:gs>
                <a:gs pos="100000">
                  <a:srgbClr val="C1D72F">
                    <a:tint val="23500"/>
                    <a:satMod val="160000"/>
                  </a:srgbClr>
                </a:gs>
              </a:gsLst>
              <a:lin ang="10800000" scaled="1"/>
              <a:tileRect/>
            </a:gradFill>
          </p:spPr>
          <p:txBody>
            <a:bodyPr wrap="square">
              <a:spAutoFit/>
            </a:bodyPr>
            <a:lstStyle/>
            <a:p>
              <a:pPr indent="-45" algn="r" defTabSz="609495">
                <a:defRPr/>
              </a:pPr>
              <a:r>
                <a:rPr lang="en-GB" sz="1600" b="1" dirty="0">
                  <a:solidFill>
                    <a:srgbClr val="002C6C"/>
                  </a:solidFill>
                  <a:latin typeface="Verdana"/>
                </a:rPr>
                <a:t>Certifications, claims &amp; traceability</a:t>
              </a:r>
            </a:p>
            <a:p>
              <a:pPr algn="r" defTabSz="609495">
                <a:defRPr/>
              </a:pPr>
              <a:r>
                <a:rPr lang="en-US" sz="800" i="1" dirty="0">
                  <a:solidFill>
                    <a:srgbClr val="002C6C"/>
                  </a:solidFill>
                  <a:latin typeface="Verdana"/>
                  <a:cs typeface="Arial" panose="020B0604020202020204" pitchFamily="34" charset="0"/>
                </a:rPr>
                <a:t>access trusted certification details of suppliers to effectively ensure product</a:t>
              </a:r>
              <a:br>
                <a:rPr lang="en-US" sz="800" i="1" dirty="0">
                  <a:solidFill>
                    <a:srgbClr val="002C6C"/>
                  </a:solidFill>
                  <a:latin typeface="Verdana"/>
                  <a:cs typeface="Arial" panose="020B0604020202020204" pitchFamily="34" charset="0"/>
                </a:rPr>
              </a:br>
              <a:r>
                <a:rPr lang="en-US" sz="800" i="1" dirty="0">
                  <a:solidFill>
                    <a:srgbClr val="002C6C"/>
                  </a:solidFill>
                  <a:latin typeface="Verdana"/>
                  <a:cs typeface="Arial" panose="020B0604020202020204" pitchFamily="34" charset="0"/>
                </a:rPr>
                <a:t>        compliance and build consumer trust.</a:t>
              </a:r>
              <a:endParaRPr lang="en-GB" sz="1600" b="1" dirty="0">
                <a:solidFill>
                  <a:srgbClr val="002C6C"/>
                </a:solidFill>
                <a:latin typeface="Verdana"/>
              </a:endParaRPr>
            </a:p>
          </p:txBody>
        </p:sp>
        <p:pic>
          <p:nvPicPr>
            <p:cNvPr id="7" name="Picture 6">
              <a:extLst>
                <a:ext uri="{FF2B5EF4-FFF2-40B4-BE49-F238E27FC236}">
                  <a16:creationId xmlns:a16="http://schemas.microsoft.com/office/drawing/2014/main" id="{DFEE9550-4FF8-3614-2A22-F6244EEA9EE3}"/>
                </a:ext>
              </a:extLst>
            </p:cNvPr>
            <p:cNvPicPr>
              <a:picLocks noChangeAspect="1"/>
            </p:cNvPicPr>
            <p:nvPr/>
          </p:nvPicPr>
          <p:blipFill>
            <a:blip r:embed="rId26"/>
            <a:stretch>
              <a:fillRect/>
            </a:stretch>
          </p:blipFill>
          <p:spPr>
            <a:xfrm>
              <a:off x="8284116" y="2971428"/>
              <a:ext cx="666568" cy="666569"/>
            </a:xfrm>
            <a:prstGeom prst="rect">
              <a:avLst/>
            </a:prstGeom>
          </p:spPr>
        </p:pic>
      </p:grpSp>
      <p:pic>
        <p:nvPicPr>
          <p:cNvPr id="12" name="Picture 14" descr="What is IFS Food Certification and Why is it Important to Food Grade Bulk  Bag Buyer's?">
            <a:extLst>
              <a:ext uri="{FF2B5EF4-FFF2-40B4-BE49-F238E27FC236}">
                <a16:creationId xmlns:a16="http://schemas.microsoft.com/office/drawing/2014/main" id="{10168566-1E39-86B7-CC9B-03F4B75C57EB}"/>
              </a:ext>
            </a:extLst>
          </p:cNvPr>
          <p:cNvPicPr>
            <a:picLocks noChangeAspect="1" noChangeArrowheads="1"/>
          </p:cNvPicPr>
          <p:nvPr/>
        </p:nvPicPr>
        <p:blipFill rotWithShape="1">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l="24396" t="-1" r="19152" b="5496"/>
          <a:stretch/>
        </p:blipFill>
        <p:spPr bwMode="auto">
          <a:xfrm>
            <a:off x="11122164" y="5333207"/>
            <a:ext cx="763425" cy="51121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JAS-ANZ - Association of Accredited Certification Bodies">
            <a:extLst>
              <a:ext uri="{FF2B5EF4-FFF2-40B4-BE49-F238E27FC236}">
                <a16:creationId xmlns:a16="http://schemas.microsoft.com/office/drawing/2014/main" id="{B8B00004-EADD-4CAC-0F41-B78B0BD66066}"/>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384798" y="5761153"/>
            <a:ext cx="617204" cy="6172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8" descr="GLOBAL G.A.P. Logo PNG Vector (AI) Free Download">
            <a:extLst>
              <a:ext uri="{FF2B5EF4-FFF2-40B4-BE49-F238E27FC236}">
                <a16:creationId xmlns:a16="http://schemas.microsoft.com/office/drawing/2014/main" id="{F4E14B4C-AF50-5F36-4C42-6C4DB8AF5C3E}"/>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1239044" y="5958873"/>
            <a:ext cx="646545" cy="30172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mazon Logo and symbol, meaning, history, sign.">
            <a:extLst>
              <a:ext uri="{FF2B5EF4-FFF2-40B4-BE49-F238E27FC236}">
                <a16:creationId xmlns:a16="http://schemas.microsoft.com/office/drawing/2014/main" id="{B6317D6A-AAB3-8B1C-A284-8B925785C84D}"/>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t="31421" b="32381"/>
          <a:stretch/>
        </p:blipFill>
        <p:spPr bwMode="auto">
          <a:xfrm>
            <a:off x="10363959" y="6401204"/>
            <a:ext cx="1276084" cy="30793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green and white circle with blue text&#10;&#10;AI-generated content may be incorrect.">
            <a:extLst>
              <a:ext uri="{FF2B5EF4-FFF2-40B4-BE49-F238E27FC236}">
                <a16:creationId xmlns:a16="http://schemas.microsoft.com/office/drawing/2014/main" id="{E3602E71-F56A-CE37-1F0B-54F9E736EA81}"/>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407565" y="5344741"/>
            <a:ext cx="608324" cy="379443"/>
          </a:xfrm>
          <a:prstGeom prst="rect">
            <a:avLst/>
          </a:prstGeom>
        </p:spPr>
      </p:pic>
      <p:pic>
        <p:nvPicPr>
          <p:cNvPr id="17" name="Picture 16" descr="A black and grey logo&#10;&#10;AI-generated content may be incorrect.">
            <a:extLst>
              <a:ext uri="{FF2B5EF4-FFF2-40B4-BE49-F238E27FC236}">
                <a16:creationId xmlns:a16="http://schemas.microsoft.com/office/drawing/2014/main" id="{378B787E-6469-BE7C-4D72-D53E76211BDA}"/>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5090117" y="2637593"/>
            <a:ext cx="958625" cy="195080"/>
          </a:xfrm>
          <a:prstGeom prst="rect">
            <a:avLst/>
          </a:prstGeom>
        </p:spPr>
      </p:pic>
    </p:spTree>
    <p:extLst>
      <p:ext uri="{BB962C8B-B14F-4D97-AF65-F5344CB8AC3E}">
        <p14:creationId xmlns:p14="http://schemas.microsoft.com/office/powerpoint/2010/main" val="975622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597407" y="6185407"/>
            <a:ext cx="717296" cy="522221"/>
          </a:xfrm>
          <a:prstGeom prst="rect">
            <a:avLst/>
          </a:prstGeom>
        </p:spPr>
      </p:pic>
      <p:sp>
        <p:nvSpPr>
          <p:cNvPr id="3" name="object 3"/>
          <p:cNvSpPr txBox="1">
            <a:spLocks noGrp="1"/>
          </p:cNvSpPr>
          <p:nvPr>
            <p:ph type="title"/>
          </p:nvPr>
        </p:nvSpPr>
        <p:spPr>
          <a:xfrm flipH="1">
            <a:off x="431072" y="278131"/>
            <a:ext cx="10732849" cy="428387"/>
          </a:xfrm>
          <a:prstGeom prst="rect">
            <a:avLst/>
          </a:prstGeom>
        </p:spPr>
        <p:txBody>
          <a:bodyPr vert="horz" wrap="square" lIns="0" tIns="17780" rIns="0" bIns="0" rtlCol="0">
            <a:spAutoFit/>
          </a:bodyPr>
          <a:lstStyle/>
          <a:p>
            <a:pPr marL="16933">
              <a:lnSpc>
                <a:spcPct val="100000"/>
              </a:lnSpc>
              <a:spcBef>
                <a:spcPts val="140"/>
              </a:spcBef>
            </a:pPr>
            <a:r>
              <a:rPr lang="en-US" dirty="0"/>
              <a:t>China Africa Co-operations</a:t>
            </a:r>
            <a:endParaRPr spc="-13" dirty="0"/>
          </a:p>
        </p:txBody>
      </p:sp>
      <p:grpSp>
        <p:nvGrpSpPr>
          <p:cNvPr id="4" name="object 4"/>
          <p:cNvGrpSpPr/>
          <p:nvPr/>
        </p:nvGrpSpPr>
        <p:grpSpPr>
          <a:xfrm>
            <a:off x="3720593" y="1672385"/>
            <a:ext cx="4967393" cy="4617720"/>
            <a:chOff x="2790444" y="1254289"/>
            <a:chExt cx="3725545" cy="3463290"/>
          </a:xfrm>
        </p:grpSpPr>
        <p:pic>
          <p:nvPicPr>
            <p:cNvPr id="5" name="object 5"/>
            <p:cNvPicPr/>
            <p:nvPr/>
          </p:nvPicPr>
          <p:blipFill>
            <a:blip r:embed="rId3" cstate="print"/>
            <a:stretch>
              <a:fillRect/>
            </a:stretch>
          </p:blipFill>
          <p:spPr>
            <a:xfrm>
              <a:off x="2802636" y="1254289"/>
              <a:ext cx="3713353" cy="3463290"/>
            </a:xfrm>
            <a:prstGeom prst="rect">
              <a:avLst/>
            </a:prstGeom>
          </p:spPr>
        </p:pic>
        <p:sp>
          <p:nvSpPr>
            <p:cNvPr id="6" name="object 6"/>
            <p:cNvSpPr/>
            <p:nvPr/>
          </p:nvSpPr>
          <p:spPr>
            <a:xfrm>
              <a:off x="2932176" y="1518411"/>
              <a:ext cx="3217545" cy="2959100"/>
            </a:xfrm>
            <a:custGeom>
              <a:avLst/>
              <a:gdLst/>
              <a:ahLst/>
              <a:cxnLst/>
              <a:rect l="l" t="t" r="r" b="b"/>
              <a:pathLst>
                <a:path w="3217545" h="2959100">
                  <a:moveTo>
                    <a:pt x="2353056" y="1476248"/>
                  </a:moveTo>
                  <a:lnTo>
                    <a:pt x="2351328" y="1429308"/>
                  </a:lnTo>
                  <a:lnTo>
                    <a:pt x="2346248" y="1383207"/>
                  </a:lnTo>
                  <a:lnTo>
                    <a:pt x="2337917" y="1338059"/>
                  </a:lnTo>
                  <a:lnTo>
                    <a:pt x="2326449" y="1293952"/>
                  </a:lnTo>
                  <a:lnTo>
                    <a:pt x="2311958" y="1251013"/>
                  </a:lnTo>
                  <a:lnTo>
                    <a:pt x="2294534" y="1209332"/>
                  </a:lnTo>
                  <a:lnTo>
                    <a:pt x="2274316" y="1168996"/>
                  </a:lnTo>
                  <a:lnTo>
                    <a:pt x="2251392" y="1130134"/>
                  </a:lnTo>
                  <a:lnTo>
                    <a:pt x="2225891" y="1092835"/>
                  </a:lnTo>
                  <a:lnTo>
                    <a:pt x="2197912" y="1057198"/>
                  </a:lnTo>
                  <a:lnTo>
                    <a:pt x="2167572" y="1023327"/>
                  </a:lnTo>
                  <a:lnTo>
                    <a:pt x="2134971" y="991336"/>
                  </a:lnTo>
                  <a:lnTo>
                    <a:pt x="2100237" y="961313"/>
                  </a:lnTo>
                  <a:lnTo>
                    <a:pt x="2063470" y="933361"/>
                  </a:lnTo>
                  <a:lnTo>
                    <a:pt x="2024786" y="907592"/>
                  </a:lnTo>
                  <a:lnTo>
                    <a:pt x="1984298" y="884097"/>
                  </a:lnTo>
                  <a:lnTo>
                    <a:pt x="1942109" y="862977"/>
                  </a:lnTo>
                  <a:lnTo>
                    <a:pt x="1898332" y="844359"/>
                  </a:lnTo>
                  <a:lnTo>
                    <a:pt x="1853082" y="828306"/>
                  </a:lnTo>
                  <a:lnTo>
                    <a:pt x="1806460" y="814959"/>
                  </a:lnTo>
                  <a:lnTo>
                    <a:pt x="1758594" y="804392"/>
                  </a:lnTo>
                  <a:lnTo>
                    <a:pt x="1709585" y="796721"/>
                  </a:lnTo>
                  <a:lnTo>
                    <a:pt x="1659534" y="792035"/>
                  </a:lnTo>
                  <a:lnTo>
                    <a:pt x="1608582" y="790448"/>
                  </a:lnTo>
                  <a:lnTo>
                    <a:pt x="1557616" y="792035"/>
                  </a:lnTo>
                  <a:lnTo>
                    <a:pt x="1507566" y="796721"/>
                  </a:lnTo>
                  <a:lnTo>
                    <a:pt x="1458556" y="804392"/>
                  </a:lnTo>
                  <a:lnTo>
                    <a:pt x="1410690" y="814959"/>
                  </a:lnTo>
                  <a:lnTo>
                    <a:pt x="1364068" y="828306"/>
                  </a:lnTo>
                  <a:lnTo>
                    <a:pt x="1318818" y="844359"/>
                  </a:lnTo>
                  <a:lnTo>
                    <a:pt x="1275041" y="862977"/>
                  </a:lnTo>
                  <a:lnTo>
                    <a:pt x="1232852" y="884097"/>
                  </a:lnTo>
                  <a:lnTo>
                    <a:pt x="1192364" y="907592"/>
                  </a:lnTo>
                  <a:lnTo>
                    <a:pt x="1153680" y="933361"/>
                  </a:lnTo>
                  <a:lnTo>
                    <a:pt x="1116914" y="961313"/>
                  </a:lnTo>
                  <a:lnTo>
                    <a:pt x="1082179" y="991336"/>
                  </a:lnTo>
                  <a:lnTo>
                    <a:pt x="1049578" y="1023327"/>
                  </a:lnTo>
                  <a:lnTo>
                    <a:pt x="1019238" y="1057198"/>
                  </a:lnTo>
                  <a:lnTo>
                    <a:pt x="991260" y="1092835"/>
                  </a:lnTo>
                  <a:lnTo>
                    <a:pt x="965758" y="1130134"/>
                  </a:lnTo>
                  <a:lnTo>
                    <a:pt x="942835" y="1168996"/>
                  </a:lnTo>
                  <a:lnTo>
                    <a:pt x="922616" y="1209332"/>
                  </a:lnTo>
                  <a:lnTo>
                    <a:pt x="905192" y="1251013"/>
                  </a:lnTo>
                  <a:lnTo>
                    <a:pt x="890701" y="1293952"/>
                  </a:lnTo>
                  <a:lnTo>
                    <a:pt x="879233" y="1338059"/>
                  </a:lnTo>
                  <a:lnTo>
                    <a:pt x="870902" y="1383207"/>
                  </a:lnTo>
                  <a:lnTo>
                    <a:pt x="865822" y="1429308"/>
                  </a:lnTo>
                  <a:lnTo>
                    <a:pt x="864108" y="1476248"/>
                  </a:lnTo>
                  <a:lnTo>
                    <a:pt x="865822" y="1523199"/>
                  </a:lnTo>
                  <a:lnTo>
                    <a:pt x="870902" y="1569300"/>
                  </a:lnTo>
                  <a:lnTo>
                    <a:pt x="879233" y="1614449"/>
                  </a:lnTo>
                  <a:lnTo>
                    <a:pt x="890701" y="1658556"/>
                  </a:lnTo>
                  <a:lnTo>
                    <a:pt x="905192" y="1701495"/>
                  </a:lnTo>
                  <a:lnTo>
                    <a:pt x="922616" y="1743176"/>
                  </a:lnTo>
                  <a:lnTo>
                    <a:pt x="942835" y="1783511"/>
                  </a:lnTo>
                  <a:lnTo>
                    <a:pt x="965758" y="1822373"/>
                  </a:lnTo>
                  <a:lnTo>
                    <a:pt x="991260" y="1859673"/>
                  </a:lnTo>
                  <a:lnTo>
                    <a:pt x="1019238" y="1895309"/>
                  </a:lnTo>
                  <a:lnTo>
                    <a:pt x="1049578" y="1929180"/>
                  </a:lnTo>
                  <a:lnTo>
                    <a:pt x="1082179" y="1961172"/>
                  </a:lnTo>
                  <a:lnTo>
                    <a:pt x="1116914" y="1991194"/>
                  </a:lnTo>
                  <a:lnTo>
                    <a:pt x="1153680" y="2019147"/>
                  </a:lnTo>
                  <a:lnTo>
                    <a:pt x="1192364" y="2044915"/>
                  </a:lnTo>
                  <a:lnTo>
                    <a:pt x="1232852" y="2068410"/>
                  </a:lnTo>
                  <a:lnTo>
                    <a:pt x="1275041" y="2089531"/>
                  </a:lnTo>
                  <a:lnTo>
                    <a:pt x="1318818" y="2108149"/>
                  </a:lnTo>
                  <a:lnTo>
                    <a:pt x="1364068" y="2124202"/>
                  </a:lnTo>
                  <a:lnTo>
                    <a:pt x="1410690" y="2137549"/>
                  </a:lnTo>
                  <a:lnTo>
                    <a:pt x="1458556" y="2148116"/>
                  </a:lnTo>
                  <a:lnTo>
                    <a:pt x="1507566" y="2155787"/>
                  </a:lnTo>
                  <a:lnTo>
                    <a:pt x="1557616" y="2160473"/>
                  </a:lnTo>
                  <a:lnTo>
                    <a:pt x="1608582" y="2162048"/>
                  </a:lnTo>
                  <a:lnTo>
                    <a:pt x="1659534" y="2160473"/>
                  </a:lnTo>
                  <a:lnTo>
                    <a:pt x="1709585" y="2155787"/>
                  </a:lnTo>
                  <a:lnTo>
                    <a:pt x="1758594" y="2148116"/>
                  </a:lnTo>
                  <a:lnTo>
                    <a:pt x="1806460" y="2137549"/>
                  </a:lnTo>
                  <a:lnTo>
                    <a:pt x="1853082" y="2124202"/>
                  </a:lnTo>
                  <a:lnTo>
                    <a:pt x="1898332" y="2108149"/>
                  </a:lnTo>
                  <a:lnTo>
                    <a:pt x="1942109" y="2089531"/>
                  </a:lnTo>
                  <a:lnTo>
                    <a:pt x="1984298" y="2068410"/>
                  </a:lnTo>
                  <a:lnTo>
                    <a:pt x="2024786" y="2044915"/>
                  </a:lnTo>
                  <a:lnTo>
                    <a:pt x="2063470" y="2019147"/>
                  </a:lnTo>
                  <a:lnTo>
                    <a:pt x="2100237" y="1991194"/>
                  </a:lnTo>
                  <a:lnTo>
                    <a:pt x="2134971" y="1961172"/>
                  </a:lnTo>
                  <a:lnTo>
                    <a:pt x="2167572" y="1929180"/>
                  </a:lnTo>
                  <a:lnTo>
                    <a:pt x="2197912" y="1895309"/>
                  </a:lnTo>
                  <a:lnTo>
                    <a:pt x="2225891" y="1859673"/>
                  </a:lnTo>
                  <a:lnTo>
                    <a:pt x="2251392" y="1822373"/>
                  </a:lnTo>
                  <a:lnTo>
                    <a:pt x="2274316" y="1783511"/>
                  </a:lnTo>
                  <a:lnTo>
                    <a:pt x="2294534" y="1743176"/>
                  </a:lnTo>
                  <a:lnTo>
                    <a:pt x="2311958" y="1701495"/>
                  </a:lnTo>
                  <a:lnTo>
                    <a:pt x="2326449" y="1658556"/>
                  </a:lnTo>
                  <a:lnTo>
                    <a:pt x="2337917" y="1614449"/>
                  </a:lnTo>
                  <a:lnTo>
                    <a:pt x="2346248" y="1569300"/>
                  </a:lnTo>
                  <a:lnTo>
                    <a:pt x="2351328" y="1523199"/>
                  </a:lnTo>
                  <a:lnTo>
                    <a:pt x="2353056" y="1476248"/>
                  </a:lnTo>
                  <a:close/>
                </a:path>
                <a:path w="3217545" h="2959100">
                  <a:moveTo>
                    <a:pt x="3217164" y="1485900"/>
                  </a:moveTo>
                  <a:lnTo>
                    <a:pt x="3216389" y="1435100"/>
                  </a:lnTo>
                  <a:lnTo>
                    <a:pt x="3214116" y="1384300"/>
                  </a:lnTo>
                  <a:lnTo>
                    <a:pt x="3210331" y="1346200"/>
                  </a:lnTo>
                  <a:lnTo>
                    <a:pt x="3205086" y="1295400"/>
                  </a:lnTo>
                  <a:lnTo>
                    <a:pt x="3198393" y="1257300"/>
                  </a:lnTo>
                  <a:lnTo>
                    <a:pt x="3190265" y="1206500"/>
                  </a:lnTo>
                  <a:lnTo>
                    <a:pt x="3180740" y="1168400"/>
                  </a:lnTo>
                  <a:lnTo>
                    <a:pt x="3169831" y="1117600"/>
                  </a:lnTo>
                  <a:lnTo>
                    <a:pt x="3157563" y="1079500"/>
                  </a:lnTo>
                  <a:lnTo>
                    <a:pt x="3143948" y="1041400"/>
                  </a:lnTo>
                  <a:lnTo>
                    <a:pt x="3129026" y="990600"/>
                  </a:lnTo>
                  <a:lnTo>
                    <a:pt x="3112808" y="952500"/>
                  </a:lnTo>
                  <a:lnTo>
                    <a:pt x="3095307" y="914400"/>
                  </a:lnTo>
                  <a:lnTo>
                    <a:pt x="3076575" y="876300"/>
                  </a:lnTo>
                  <a:lnTo>
                    <a:pt x="3056610" y="838200"/>
                  </a:lnTo>
                  <a:lnTo>
                    <a:pt x="3035439" y="800100"/>
                  </a:lnTo>
                  <a:lnTo>
                    <a:pt x="3013075" y="762000"/>
                  </a:lnTo>
                  <a:lnTo>
                    <a:pt x="2989567" y="723900"/>
                  </a:lnTo>
                  <a:lnTo>
                    <a:pt x="2964916" y="685800"/>
                  </a:lnTo>
                  <a:lnTo>
                    <a:pt x="2939148" y="647700"/>
                  </a:lnTo>
                  <a:lnTo>
                    <a:pt x="2912287" y="609600"/>
                  </a:lnTo>
                  <a:lnTo>
                    <a:pt x="2884360" y="584200"/>
                  </a:lnTo>
                  <a:lnTo>
                    <a:pt x="2855379" y="546100"/>
                  </a:lnTo>
                  <a:lnTo>
                    <a:pt x="2825369" y="508000"/>
                  </a:lnTo>
                  <a:lnTo>
                    <a:pt x="2794355" y="482600"/>
                  </a:lnTo>
                  <a:lnTo>
                    <a:pt x="2762364" y="444500"/>
                  </a:lnTo>
                  <a:lnTo>
                    <a:pt x="2729407" y="419100"/>
                  </a:lnTo>
                  <a:lnTo>
                    <a:pt x="2695511" y="393700"/>
                  </a:lnTo>
                  <a:lnTo>
                    <a:pt x="2660713" y="355600"/>
                  </a:lnTo>
                  <a:lnTo>
                    <a:pt x="2625013" y="330200"/>
                  </a:lnTo>
                  <a:lnTo>
                    <a:pt x="2588437" y="304800"/>
                  </a:lnTo>
                  <a:lnTo>
                    <a:pt x="2551023" y="279400"/>
                  </a:lnTo>
                  <a:lnTo>
                    <a:pt x="2512771" y="254000"/>
                  </a:lnTo>
                  <a:lnTo>
                    <a:pt x="2477135" y="230822"/>
                  </a:lnTo>
                  <a:lnTo>
                    <a:pt x="2477135" y="1485900"/>
                  </a:lnTo>
                  <a:lnTo>
                    <a:pt x="2475750" y="1524000"/>
                  </a:lnTo>
                  <a:lnTo>
                    <a:pt x="2471674" y="1574800"/>
                  </a:lnTo>
                  <a:lnTo>
                    <a:pt x="2464968" y="1612900"/>
                  </a:lnTo>
                  <a:lnTo>
                    <a:pt x="2455710" y="1663700"/>
                  </a:lnTo>
                  <a:lnTo>
                    <a:pt x="2443975" y="1701800"/>
                  </a:lnTo>
                  <a:lnTo>
                    <a:pt x="2429827" y="1739900"/>
                  </a:lnTo>
                  <a:lnTo>
                    <a:pt x="2413343" y="1778000"/>
                  </a:lnTo>
                  <a:lnTo>
                    <a:pt x="2394610" y="1828800"/>
                  </a:lnTo>
                  <a:lnTo>
                    <a:pt x="2373680" y="1866900"/>
                  </a:lnTo>
                  <a:lnTo>
                    <a:pt x="2350630" y="1892300"/>
                  </a:lnTo>
                  <a:lnTo>
                    <a:pt x="2325547" y="1930400"/>
                  </a:lnTo>
                  <a:lnTo>
                    <a:pt x="2298496" y="1968500"/>
                  </a:lnTo>
                  <a:lnTo>
                    <a:pt x="2269540" y="2006600"/>
                  </a:lnTo>
                  <a:lnTo>
                    <a:pt x="2238781" y="2032000"/>
                  </a:lnTo>
                  <a:lnTo>
                    <a:pt x="2206256" y="2057400"/>
                  </a:lnTo>
                  <a:lnTo>
                    <a:pt x="2172068" y="2095500"/>
                  </a:lnTo>
                  <a:lnTo>
                    <a:pt x="2136279" y="2120900"/>
                  </a:lnTo>
                  <a:lnTo>
                    <a:pt x="2098954" y="2146300"/>
                  </a:lnTo>
                  <a:lnTo>
                    <a:pt x="2060181" y="2171700"/>
                  </a:lnTo>
                  <a:lnTo>
                    <a:pt x="2020023" y="2184400"/>
                  </a:lnTo>
                  <a:lnTo>
                    <a:pt x="1978558" y="2209800"/>
                  </a:lnTo>
                  <a:lnTo>
                    <a:pt x="1892007" y="2235200"/>
                  </a:lnTo>
                  <a:lnTo>
                    <a:pt x="1754200" y="2273300"/>
                  </a:lnTo>
                  <a:lnTo>
                    <a:pt x="1706422" y="2273300"/>
                  </a:lnTo>
                  <a:lnTo>
                    <a:pt x="1657858" y="2286000"/>
                  </a:lnTo>
                  <a:lnTo>
                    <a:pt x="1559293" y="2286000"/>
                  </a:lnTo>
                  <a:lnTo>
                    <a:pt x="1510728" y="2273300"/>
                  </a:lnTo>
                  <a:lnTo>
                    <a:pt x="1462951" y="2273300"/>
                  </a:lnTo>
                  <a:lnTo>
                    <a:pt x="1325143" y="2235200"/>
                  </a:lnTo>
                  <a:lnTo>
                    <a:pt x="1238592" y="2209800"/>
                  </a:lnTo>
                  <a:lnTo>
                    <a:pt x="1197127" y="2184400"/>
                  </a:lnTo>
                  <a:lnTo>
                    <a:pt x="1156970" y="2171700"/>
                  </a:lnTo>
                  <a:lnTo>
                    <a:pt x="1118196" y="2146300"/>
                  </a:lnTo>
                  <a:lnTo>
                    <a:pt x="1080871" y="2120900"/>
                  </a:lnTo>
                  <a:lnTo>
                    <a:pt x="1045083" y="2095500"/>
                  </a:lnTo>
                  <a:lnTo>
                    <a:pt x="1010894" y="2057400"/>
                  </a:lnTo>
                  <a:lnTo>
                    <a:pt x="978369" y="2032000"/>
                  </a:lnTo>
                  <a:lnTo>
                    <a:pt x="947610" y="2006600"/>
                  </a:lnTo>
                  <a:lnTo>
                    <a:pt x="918654" y="1968500"/>
                  </a:lnTo>
                  <a:lnTo>
                    <a:pt x="891603" y="1930400"/>
                  </a:lnTo>
                  <a:lnTo>
                    <a:pt x="866521" y="1892300"/>
                  </a:lnTo>
                  <a:lnTo>
                    <a:pt x="843470" y="1866900"/>
                  </a:lnTo>
                  <a:lnTo>
                    <a:pt x="822540" y="1828800"/>
                  </a:lnTo>
                  <a:lnTo>
                    <a:pt x="803808" y="1778000"/>
                  </a:lnTo>
                  <a:lnTo>
                    <a:pt x="787323" y="1739900"/>
                  </a:lnTo>
                  <a:lnTo>
                    <a:pt x="773176" y="1701800"/>
                  </a:lnTo>
                  <a:lnTo>
                    <a:pt x="761441" y="1663700"/>
                  </a:lnTo>
                  <a:lnTo>
                    <a:pt x="752182" y="1612900"/>
                  </a:lnTo>
                  <a:lnTo>
                    <a:pt x="745477" y="1574800"/>
                  </a:lnTo>
                  <a:lnTo>
                    <a:pt x="741400" y="1524000"/>
                  </a:lnTo>
                  <a:lnTo>
                    <a:pt x="740029" y="1485900"/>
                  </a:lnTo>
                  <a:lnTo>
                    <a:pt x="741400" y="1435100"/>
                  </a:lnTo>
                  <a:lnTo>
                    <a:pt x="745477" y="1397000"/>
                  </a:lnTo>
                  <a:lnTo>
                    <a:pt x="752182" y="1346200"/>
                  </a:lnTo>
                  <a:lnTo>
                    <a:pt x="761441" y="1308100"/>
                  </a:lnTo>
                  <a:lnTo>
                    <a:pt x="773176" y="1257300"/>
                  </a:lnTo>
                  <a:lnTo>
                    <a:pt x="787323" y="1219200"/>
                  </a:lnTo>
                  <a:lnTo>
                    <a:pt x="803808" y="1181100"/>
                  </a:lnTo>
                  <a:lnTo>
                    <a:pt x="822540" y="1143000"/>
                  </a:lnTo>
                  <a:lnTo>
                    <a:pt x="843470" y="1104900"/>
                  </a:lnTo>
                  <a:lnTo>
                    <a:pt x="866521" y="1066800"/>
                  </a:lnTo>
                  <a:lnTo>
                    <a:pt x="891603" y="1028700"/>
                  </a:lnTo>
                  <a:lnTo>
                    <a:pt x="918654" y="990600"/>
                  </a:lnTo>
                  <a:lnTo>
                    <a:pt x="947610" y="965200"/>
                  </a:lnTo>
                  <a:lnTo>
                    <a:pt x="978369" y="927100"/>
                  </a:lnTo>
                  <a:lnTo>
                    <a:pt x="1010894" y="901700"/>
                  </a:lnTo>
                  <a:lnTo>
                    <a:pt x="1045083" y="876300"/>
                  </a:lnTo>
                  <a:lnTo>
                    <a:pt x="1080871" y="850900"/>
                  </a:lnTo>
                  <a:lnTo>
                    <a:pt x="1118196" y="825500"/>
                  </a:lnTo>
                  <a:lnTo>
                    <a:pt x="1156970" y="800100"/>
                  </a:lnTo>
                  <a:lnTo>
                    <a:pt x="1197127" y="774700"/>
                  </a:lnTo>
                  <a:lnTo>
                    <a:pt x="1238592" y="762000"/>
                  </a:lnTo>
                  <a:lnTo>
                    <a:pt x="1281290" y="736600"/>
                  </a:lnTo>
                  <a:lnTo>
                    <a:pt x="1416050" y="698500"/>
                  </a:lnTo>
                  <a:lnTo>
                    <a:pt x="1462951" y="685800"/>
                  </a:lnTo>
                  <a:lnTo>
                    <a:pt x="1754200" y="685800"/>
                  </a:lnTo>
                  <a:lnTo>
                    <a:pt x="1801101" y="698500"/>
                  </a:lnTo>
                  <a:lnTo>
                    <a:pt x="1935861" y="736600"/>
                  </a:lnTo>
                  <a:lnTo>
                    <a:pt x="1978558" y="762000"/>
                  </a:lnTo>
                  <a:lnTo>
                    <a:pt x="2020023" y="774700"/>
                  </a:lnTo>
                  <a:lnTo>
                    <a:pt x="2060181" y="800100"/>
                  </a:lnTo>
                  <a:lnTo>
                    <a:pt x="2098954" y="825500"/>
                  </a:lnTo>
                  <a:lnTo>
                    <a:pt x="2136279" y="850900"/>
                  </a:lnTo>
                  <a:lnTo>
                    <a:pt x="2172068" y="876300"/>
                  </a:lnTo>
                  <a:lnTo>
                    <a:pt x="2206256" y="901700"/>
                  </a:lnTo>
                  <a:lnTo>
                    <a:pt x="2238781" y="927100"/>
                  </a:lnTo>
                  <a:lnTo>
                    <a:pt x="2269540" y="965200"/>
                  </a:lnTo>
                  <a:lnTo>
                    <a:pt x="2298496" y="990600"/>
                  </a:lnTo>
                  <a:lnTo>
                    <a:pt x="2325547" y="1028700"/>
                  </a:lnTo>
                  <a:lnTo>
                    <a:pt x="2350630" y="1066800"/>
                  </a:lnTo>
                  <a:lnTo>
                    <a:pt x="2373680" y="1104900"/>
                  </a:lnTo>
                  <a:lnTo>
                    <a:pt x="2394610" y="1143000"/>
                  </a:lnTo>
                  <a:lnTo>
                    <a:pt x="2413343" y="1181100"/>
                  </a:lnTo>
                  <a:lnTo>
                    <a:pt x="2429827" y="1219200"/>
                  </a:lnTo>
                  <a:lnTo>
                    <a:pt x="2443975" y="1257300"/>
                  </a:lnTo>
                  <a:lnTo>
                    <a:pt x="2455710" y="1308100"/>
                  </a:lnTo>
                  <a:lnTo>
                    <a:pt x="2464968" y="1346200"/>
                  </a:lnTo>
                  <a:lnTo>
                    <a:pt x="2471674" y="1397000"/>
                  </a:lnTo>
                  <a:lnTo>
                    <a:pt x="2475750" y="1435100"/>
                  </a:lnTo>
                  <a:lnTo>
                    <a:pt x="2477135" y="1485900"/>
                  </a:lnTo>
                  <a:lnTo>
                    <a:pt x="2477135" y="230822"/>
                  </a:lnTo>
                  <a:lnTo>
                    <a:pt x="2473718" y="228600"/>
                  </a:lnTo>
                  <a:lnTo>
                    <a:pt x="2433891" y="203200"/>
                  </a:lnTo>
                  <a:lnTo>
                    <a:pt x="2393302" y="190500"/>
                  </a:lnTo>
                  <a:lnTo>
                    <a:pt x="2351976" y="165100"/>
                  </a:lnTo>
                  <a:lnTo>
                    <a:pt x="2309926" y="152400"/>
                  </a:lnTo>
                  <a:lnTo>
                    <a:pt x="2267191" y="127000"/>
                  </a:lnTo>
                  <a:lnTo>
                    <a:pt x="2223782" y="114300"/>
                  </a:lnTo>
                  <a:lnTo>
                    <a:pt x="2179726" y="88900"/>
                  </a:lnTo>
                  <a:lnTo>
                    <a:pt x="1997456" y="38100"/>
                  </a:lnTo>
                  <a:lnTo>
                    <a:pt x="1950504" y="38100"/>
                  </a:lnTo>
                  <a:lnTo>
                    <a:pt x="1855050" y="12700"/>
                  </a:lnTo>
                  <a:lnTo>
                    <a:pt x="1806600" y="12700"/>
                  </a:lnTo>
                  <a:lnTo>
                    <a:pt x="1757718" y="0"/>
                  </a:lnTo>
                  <a:lnTo>
                    <a:pt x="1459433" y="0"/>
                  </a:lnTo>
                  <a:lnTo>
                    <a:pt x="1410550" y="12700"/>
                  </a:lnTo>
                  <a:lnTo>
                    <a:pt x="1362100" y="12700"/>
                  </a:lnTo>
                  <a:lnTo>
                    <a:pt x="1266647" y="38100"/>
                  </a:lnTo>
                  <a:lnTo>
                    <a:pt x="1219695" y="38100"/>
                  </a:lnTo>
                  <a:lnTo>
                    <a:pt x="1037424" y="88900"/>
                  </a:lnTo>
                  <a:lnTo>
                    <a:pt x="993368" y="114300"/>
                  </a:lnTo>
                  <a:lnTo>
                    <a:pt x="949960" y="127000"/>
                  </a:lnTo>
                  <a:lnTo>
                    <a:pt x="907224" y="152400"/>
                  </a:lnTo>
                  <a:lnTo>
                    <a:pt x="865174" y="165100"/>
                  </a:lnTo>
                  <a:lnTo>
                    <a:pt x="823849" y="190500"/>
                  </a:lnTo>
                  <a:lnTo>
                    <a:pt x="783259" y="203200"/>
                  </a:lnTo>
                  <a:lnTo>
                    <a:pt x="743432" y="228600"/>
                  </a:lnTo>
                  <a:lnTo>
                    <a:pt x="704380" y="254000"/>
                  </a:lnTo>
                  <a:lnTo>
                    <a:pt x="666127" y="279400"/>
                  </a:lnTo>
                  <a:lnTo>
                    <a:pt x="628713" y="304800"/>
                  </a:lnTo>
                  <a:lnTo>
                    <a:pt x="592137" y="330200"/>
                  </a:lnTo>
                  <a:lnTo>
                    <a:pt x="556437" y="355600"/>
                  </a:lnTo>
                  <a:lnTo>
                    <a:pt x="521639" y="393700"/>
                  </a:lnTo>
                  <a:lnTo>
                    <a:pt x="487743" y="419100"/>
                  </a:lnTo>
                  <a:lnTo>
                    <a:pt x="454787" y="444500"/>
                  </a:lnTo>
                  <a:lnTo>
                    <a:pt x="422795" y="482600"/>
                  </a:lnTo>
                  <a:lnTo>
                    <a:pt x="391782" y="508000"/>
                  </a:lnTo>
                  <a:lnTo>
                    <a:pt x="361772" y="546100"/>
                  </a:lnTo>
                  <a:lnTo>
                    <a:pt x="332790" y="584200"/>
                  </a:lnTo>
                  <a:lnTo>
                    <a:pt x="304863" y="609600"/>
                  </a:lnTo>
                  <a:lnTo>
                    <a:pt x="278003" y="647700"/>
                  </a:lnTo>
                  <a:lnTo>
                    <a:pt x="252234" y="685800"/>
                  </a:lnTo>
                  <a:lnTo>
                    <a:pt x="227584" y="723900"/>
                  </a:lnTo>
                  <a:lnTo>
                    <a:pt x="204076" y="762000"/>
                  </a:lnTo>
                  <a:lnTo>
                    <a:pt x="181711" y="800100"/>
                  </a:lnTo>
                  <a:lnTo>
                    <a:pt x="160540" y="838200"/>
                  </a:lnTo>
                  <a:lnTo>
                    <a:pt x="140576" y="876300"/>
                  </a:lnTo>
                  <a:lnTo>
                    <a:pt x="121843" y="914400"/>
                  </a:lnTo>
                  <a:lnTo>
                    <a:pt x="104343" y="952500"/>
                  </a:lnTo>
                  <a:lnTo>
                    <a:pt x="88125" y="990600"/>
                  </a:lnTo>
                  <a:lnTo>
                    <a:pt x="73202" y="1041400"/>
                  </a:lnTo>
                  <a:lnTo>
                    <a:pt x="59588" y="1079500"/>
                  </a:lnTo>
                  <a:lnTo>
                    <a:pt x="47320" y="1117600"/>
                  </a:lnTo>
                  <a:lnTo>
                    <a:pt x="36410" y="1168400"/>
                  </a:lnTo>
                  <a:lnTo>
                    <a:pt x="26885" y="1206500"/>
                  </a:lnTo>
                  <a:lnTo>
                    <a:pt x="18757" y="1257300"/>
                  </a:lnTo>
                  <a:lnTo>
                    <a:pt x="12065" y="1295400"/>
                  </a:lnTo>
                  <a:lnTo>
                    <a:pt x="6819" y="1346200"/>
                  </a:lnTo>
                  <a:lnTo>
                    <a:pt x="3035" y="1384300"/>
                  </a:lnTo>
                  <a:lnTo>
                    <a:pt x="762" y="1435100"/>
                  </a:lnTo>
                  <a:lnTo>
                    <a:pt x="0" y="1485900"/>
                  </a:lnTo>
                  <a:lnTo>
                    <a:pt x="762" y="1524000"/>
                  </a:lnTo>
                  <a:lnTo>
                    <a:pt x="3035" y="1574800"/>
                  </a:lnTo>
                  <a:lnTo>
                    <a:pt x="6819" y="1625600"/>
                  </a:lnTo>
                  <a:lnTo>
                    <a:pt x="12065" y="1663700"/>
                  </a:lnTo>
                  <a:lnTo>
                    <a:pt x="18757" y="1714500"/>
                  </a:lnTo>
                  <a:lnTo>
                    <a:pt x="26885" y="1752600"/>
                  </a:lnTo>
                  <a:lnTo>
                    <a:pt x="36410" y="1803400"/>
                  </a:lnTo>
                  <a:lnTo>
                    <a:pt x="47320" y="1841500"/>
                  </a:lnTo>
                  <a:lnTo>
                    <a:pt x="59588" y="1879600"/>
                  </a:lnTo>
                  <a:lnTo>
                    <a:pt x="73202" y="1930400"/>
                  </a:lnTo>
                  <a:lnTo>
                    <a:pt x="88125" y="1968500"/>
                  </a:lnTo>
                  <a:lnTo>
                    <a:pt x="104343" y="2006600"/>
                  </a:lnTo>
                  <a:lnTo>
                    <a:pt x="121843" y="2044700"/>
                  </a:lnTo>
                  <a:lnTo>
                    <a:pt x="140576" y="2095500"/>
                  </a:lnTo>
                  <a:lnTo>
                    <a:pt x="160540" y="2133600"/>
                  </a:lnTo>
                  <a:lnTo>
                    <a:pt x="181711" y="2171700"/>
                  </a:lnTo>
                  <a:lnTo>
                    <a:pt x="204076" y="2209800"/>
                  </a:lnTo>
                  <a:lnTo>
                    <a:pt x="227584" y="2247900"/>
                  </a:lnTo>
                  <a:lnTo>
                    <a:pt x="252234" y="2286000"/>
                  </a:lnTo>
                  <a:lnTo>
                    <a:pt x="278003" y="2311400"/>
                  </a:lnTo>
                  <a:lnTo>
                    <a:pt x="304863" y="2349500"/>
                  </a:lnTo>
                  <a:lnTo>
                    <a:pt x="332790" y="2387600"/>
                  </a:lnTo>
                  <a:lnTo>
                    <a:pt x="361772" y="2413000"/>
                  </a:lnTo>
                  <a:lnTo>
                    <a:pt x="391782" y="2451100"/>
                  </a:lnTo>
                  <a:lnTo>
                    <a:pt x="422795" y="2489200"/>
                  </a:lnTo>
                  <a:lnTo>
                    <a:pt x="454787" y="2514600"/>
                  </a:lnTo>
                  <a:lnTo>
                    <a:pt x="487743" y="2540000"/>
                  </a:lnTo>
                  <a:lnTo>
                    <a:pt x="521639" y="2578100"/>
                  </a:lnTo>
                  <a:lnTo>
                    <a:pt x="556437" y="2603500"/>
                  </a:lnTo>
                  <a:lnTo>
                    <a:pt x="592137" y="2628900"/>
                  </a:lnTo>
                  <a:lnTo>
                    <a:pt x="628713" y="2654300"/>
                  </a:lnTo>
                  <a:lnTo>
                    <a:pt x="666127" y="2679700"/>
                  </a:lnTo>
                  <a:lnTo>
                    <a:pt x="704380" y="2705100"/>
                  </a:lnTo>
                  <a:lnTo>
                    <a:pt x="743432" y="2730500"/>
                  </a:lnTo>
                  <a:lnTo>
                    <a:pt x="783259" y="2755900"/>
                  </a:lnTo>
                  <a:lnTo>
                    <a:pt x="823849" y="2781300"/>
                  </a:lnTo>
                  <a:lnTo>
                    <a:pt x="865174" y="2794000"/>
                  </a:lnTo>
                  <a:lnTo>
                    <a:pt x="907224" y="2819400"/>
                  </a:lnTo>
                  <a:lnTo>
                    <a:pt x="949960" y="2832100"/>
                  </a:lnTo>
                  <a:lnTo>
                    <a:pt x="993368" y="2857500"/>
                  </a:lnTo>
                  <a:lnTo>
                    <a:pt x="1082103" y="2882900"/>
                  </a:lnTo>
                  <a:lnTo>
                    <a:pt x="1314132" y="2946400"/>
                  </a:lnTo>
                  <a:lnTo>
                    <a:pt x="1362100" y="2946400"/>
                  </a:lnTo>
                  <a:lnTo>
                    <a:pt x="1410550" y="2959100"/>
                  </a:lnTo>
                  <a:lnTo>
                    <a:pt x="1806600" y="2959100"/>
                  </a:lnTo>
                  <a:lnTo>
                    <a:pt x="1855050" y="2946400"/>
                  </a:lnTo>
                  <a:lnTo>
                    <a:pt x="1903018" y="2946400"/>
                  </a:lnTo>
                  <a:lnTo>
                    <a:pt x="2135047" y="2882900"/>
                  </a:lnTo>
                  <a:lnTo>
                    <a:pt x="2223782" y="2857500"/>
                  </a:lnTo>
                  <a:lnTo>
                    <a:pt x="2267191" y="2832100"/>
                  </a:lnTo>
                  <a:lnTo>
                    <a:pt x="2309926" y="2819400"/>
                  </a:lnTo>
                  <a:lnTo>
                    <a:pt x="2351976" y="2794000"/>
                  </a:lnTo>
                  <a:lnTo>
                    <a:pt x="2393302" y="2781300"/>
                  </a:lnTo>
                  <a:lnTo>
                    <a:pt x="2433891" y="2755900"/>
                  </a:lnTo>
                  <a:lnTo>
                    <a:pt x="2473718" y="2730500"/>
                  </a:lnTo>
                  <a:lnTo>
                    <a:pt x="2512771" y="2705100"/>
                  </a:lnTo>
                  <a:lnTo>
                    <a:pt x="2551023" y="2679700"/>
                  </a:lnTo>
                  <a:lnTo>
                    <a:pt x="2588437" y="2654300"/>
                  </a:lnTo>
                  <a:lnTo>
                    <a:pt x="2625013" y="2628900"/>
                  </a:lnTo>
                  <a:lnTo>
                    <a:pt x="2660713" y="2603500"/>
                  </a:lnTo>
                  <a:lnTo>
                    <a:pt x="2695511" y="2578100"/>
                  </a:lnTo>
                  <a:lnTo>
                    <a:pt x="2729407" y="2540000"/>
                  </a:lnTo>
                  <a:lnTo>
                    <a:pt x="2762364" y="2514600"/>
                  </a:lnTo>
                  <a:lnTo>
                    <a:pt x="2794355" y="2489200"/>
                  </a:lnTo>
                  <a:lnTo>
                    <a:pt x="2825369" y="2451100"/>
                  </a:lnTo>
                  <a:lnTo>
                    <a:pt x="2855379" y="2413000"/>
                  </a:lnTo>
                  <a:lnTo>
                    <a:pt x="2884360" y="2387600"/>
                  </a:lnTo>
                  <a:lnTo>
                    <a:pt x="2912287" y="2349500"/>
                  </a:lnTo>
                  <a:lnTo>
                    <a:pt x="2939148" y="2311400"/>
                  </a:lnTo>
                  <a:lnTo>
                    <a:pt x="2964916" y="2286000"/>
                  </a:lnTo>
                  <a:lnTo>
                    <a:pt x="2989567" y="2247900"/>
                  </a:lnTo>
                  <a:lnTo>
                    <a:pt x="3013075" y="2209800"/>
                  </a:lnTo>
                  <a:lnTo>
                    <a:pt x="3035439" y="2171700"/>
                  </a:lnTo>
                  <a:lnTo>
                    <a:pt x="3056610" y="2133600"/>
                  </a:lnTo>
                  <a:lnTo>
                    <a:pt x="3076575" y="2095500"/>
                  </a:lnTo>
                  <a:lnTo>
                    <a:pt x="3095307" y="2044700"/>
                  </a:lnTo>
                  <a:lnTo>
                    <a:pt x="3112808" y="2006600"/>
                  </a:lnTo>
                  <a:lnTo>
                    <a:pt x="3129026" y="1968500"/>
                  </a:lnTo>
                  <a:lnTo>
                    <a:pt x="3143948" y="1930400"/>
                  </a:lnTo>
                  <a:lnTo>
                    <a:pt x="3157563" y="1879600"/>
                  </a:lnTo>
                  <a:lnTo>
                    <a:pt x="3169831" y="1841500"/>
                  </a:lnTo>
                  <a:lnTo>
                    <a:pt x="3180740" y="1803400"/>
                  </a:lnTo>
                  <a:lnTo>
                    <a:pt x="3190265" y="1752600"/>
                  </a:lnTo>
                  <a:lnTo>
                    <a:pt x="3198393" y="1714500"/>
                  </a:lnTo>
                  <a:lnTo>
                    <a:pt x="3205086" y="1663700"/>
                  </a:lnTo>
                  <a:lnTo>
                    <a:pt x="3210331" y="1625600"/>
                  </a:lnTo>
                  <a:lnTo>
                    <a:pt x="3214116" y="1574800"/>
                  </a:lnTo>
                  <a:lnTo>
                    <a:pt x="3216389" y="1524000"/>
                  </a:lnTo>
                  <a:lnTo>
                    <a:pt x="3217164" y="1485900"/>
                  </a:lnTo>
                  <a:close/>
                </a:path>
              </a:pathLst>
            </a:custGeom>
            <a:solidFill>
              <a:srgbClr val="FFFFFF"/>
            </a:solidFill>
          </p:spPr>
          <p:txBody>
            <a:bodyPr wrap="square" lIns="0" tIns="0" rIns="0" bIns="0" rtlCol="0"/>
            <a:lstStyle/>
            <a:p>
              <a:endParaRPr sz="2400"/>
            </a:p>
          </p:txBody>
        </p:sp>
        <p:pic>
          <p:nvPicPr>
            <p:cNvPr id="7" name="object 7"/>
            <p:cNvPicPr/>
            <p:nvPr/>
          </p:nvPicPr>
          <p:blipFill>
            <a:blip r:embed="rId4" cstate="print"/>
            <a:stretch>
              <a:fillRect/>
            </a:stretch>
          </p:blipFill>
          <p:spPr>
            <a:xfrm>
              <a:off x="3718560" y="2281427"/>
              <a:ext cx="1637538" cy="1520190"/>
            </a:xfrm>
            <a:prstGeom prst="rect">
              <a:avLst/>
            </a:prstGeom>
          </p:spPr>
        </p:pic>
        <p:sp>
          <p:nvSpPr>
            <p:cNvPr id="8" name="object 8"/>
            <p:cNvSpPr/>
            <p:nvPr/>
          </p:nvSpPr>
          <p:spPr>
            <a:xfrm>
              <a:off x="3796283" y="2321559"/>
              <a:ext cx="1489075" cy="1358900"/>
            </a:xfrm>
            <a:custGeom>
              <a:avLst/>
              <a:gdLst/>
              <a:ahLst/>
              <a:cxnLst/>
              <a:rect l="l" t="t" r="r" b="b"/>
              <a:pathLst>
                <a:path w="1489075" h="1358900">
                  <a:moveTo>
                    <a:pt x="892135" y="1346199"/>
                  </a:moveTo>
                  <a:lnTo>
                    <a:pt x="596924" y="1346199"/>
                  </a:lnTo>
                  <a:lnTo>
                    <a:pt x="645140" y="1358899"/>
                  </a:lnTo>
                  <a:lnTo>
                    <a:pt x="843914" y="1358899"/>
                  </a:lnTo>
                  <a:lnTo>
                    <a:pt x="892135" y="1346199"/>
                  </a:lnTo>
                  <a:close/>
                </a:path>
                <a:path w="1489075" h="1358900">
                  <a:moveTo>
                    <a:pt x="939069" y="12700"/>
                  </a:moveTo>
                  <a:lnTo>
                    <a:pt x="549687" y="12700"/>
                  </a:lnTo>
                  <a:lnTo>
                    <a:pt x="503439" y="25400"/>
                  </a:lnTo>
                  <a:lnTo>
                    <a:pt x="458188" y="50800"/>
                  </a:lnTo>
                  <a:lnTo>
                    <a:pt x="413943" y="63500"/>
                  </a:lnTo>
                  <a:lnTo>
                    <a:pt x="370713" y="88900"/>
                  </a:lnTo>
                  <a:lnTo>
                    <a:pt x="323343" y="114300"/>
                  </a:lnTo>
                  <a:lnTo>
                    <a:pt x="278878" y="139700"/>
                  </a:lnTo>
                  <a:lnTo>
                    <a:pt x="237311" y="177800"/>
                  </a:lnTo>
                  <a:lnTo>
                    <a:pt x="198640" y="215900"/>
                  </a:lnTo>
                  <a:lnTo>
                    <a:pt x="162858" y="254000"/>
                  </a:lnTo>
                  <a:lnTo>
                    <a:pt x="129963" y="292100"/>
                  </a:lnTo>
                  <a:lnTo>
                    <a:pt x="99949" y="330200"/>
                  </a:lnTo>
                  <a:lnTo>
                    <a:pt x="73458" y="381000"/>
                  </a:lnTo>
                  <a:lnTo>
                    <a:pt x="51031" y="431800"/>
                  </a:lnTo>
                  <a:lnTo>
                    <a:pt x="32671" y="469900"/>
                  </a:lnTo>
                  <a:lnTo>
                    <a:pt x="18384" y="520700"/>
                  </a:lnTo>
                  <a:lnTo>
                    <a:pt x="8173" y="571500"/>
                  </a:lnTo>
                  <a:lnTo>
                    <a:pt x="2044" y="622300"/>
                  </a:lnTo>
                  <a:lnTo>
                    <a:pt x="0" y="673100"/>
                  </a:lnTo>
                  <a:lnTo>
                    <a:pt x="2044" y="736600"/>
                  </a:lnTo>
                  <a:lnTo>
                    <a:pt x="8173" y="787400"/>
                  </a:lnTo>
                  <a:lnTo>
                    <a:pt x="18384" y="838200"/>
                  </a:lnTo>
                  <a:lnTo>
                    <a:pt x="32671" y="889000"/>
                  </a:lnTo>
                  <a:lnTo>
                    <a:pt x="51031" y="927100"/>
                  </a:lnTo>
                  <a:lnTo>
                    <a:pt x="73458" y="977900"/>
                  </a:lnTo>
                  <a:lnTo>
                    <a:pt x="99949" y="1028700"/>
                  </a:lnTo>
                  <a:lnTo>
                    <a:pt x="129963" y="1066800"/>
                  </a:lnTo>
                  <a:lnTo>
                    <a:pt x="162858" y="1104900"/>
                  </a:lnTo>
                  <a:lnTo>
                    <a:pt x="198640" y="1143000"/>
                  </a:lnTo>
                  <a:lnTo>
                    <a:pt x="237311" y="1181100"/>
                  </a:lnTo>
                  <a:lnTo>
                    <a:pt x="278878" y="1219199"/>
                  </a:lnTo>
                  <a:lnTo>
                    <a:pt x="323343" y="1244599"/>
                  </a:lnTo>
                  <a:lnTo>
                    <a:pt x="370713" y="1269999"/>
                  </a:lnTo>
                  <a:lnTo>
                    <a:pt x="413943" y="1295399"/>
                  </a:lnTo>
                  <a:lnTo>
                    <a:pt x="458188" y="1308099"/>
                  </a:lnTo>
                  <a:lnTo>
                    <a:pt x="503439" y="1333499"/>
                  </a:lnTo>
                  <a:lnTo>
                    <a:pt x="549687" y="1346199"/>
                  </a:lnTo>
                  <a:lnTo>
                    <a:pt x="939355" y="1346199"/>
                  </a:lnTo>
                  <a:lnTo>
                    <a:pt x="985575" y="1333499"/>
                  </a:lnTo>
                  <a:lnTo>
                    <a:pt x="1030795" y="1308099"/>
                  </a:lnTo>
                  <a:lnTo>
                    <a:pt x="1075015" y="1295399"/>
                  </a:lnTo>
                  <a:lnTo>
                    <a:pt x="1118235" y="1269999"/>
                  </a:lnTo>
                  <a:lnTo>
                    <a:pt x="1165604" y="1244599"/>
                  </a:lnTo>
                  <a:lnTo>
                    <a:pt x="852169" y="1244599"/>
                  </a:lnTo>
                  <a:lnTo>
                    <a:pt x="850773" y="1231899"/>
                  </a:lnTo>
                  <a:lnTo>
                    <a:pt x="850011" y="1231899"/>
                  </a:lnTo>
                  <a:lnTo>
                    <a:pt x="849629" y="1219199"/>
                  </a:lnTo>
                  <a:lnTo>
                    <a:pt x="851788" y="1219199"/>
                  </a:lnTo>
                  <a:lnTo>
                    <a:pt x="856868" y="1206499"/>
                  </a:lnTo>
                  <a:lnTo>
                    <a:pt x="861949" y="1206499"/>
                  </a:lnTo>
                  <a:lnTo>
                    <a:pt x="864742" y="1193800"/>
                  </a:lnTo>
                  <a:lnTo>
                    <a:pt x="858204" y="1181100"/>
                  </a:lnTo>
                  <a:lnTo>
                    <a:pt x="852366" y="1181100"/>
                  </a:lnTo>
                  <a:lnTo>
                    <a:pt x="853186" y="1168400"/>
                  </a:lnTo>
                  <a:lnTo>
                    <a:pt x="855624" y="1155700"/>
                  </a:lnTo>
                  <a:lnTo>
                    <a:pt x="861075" y="1155700"/>
                  </a:lnTo>
                  <a:lnTo>
                    <a:pt x="869598" y="1143000"/>
                  </a:lnTo>
                  <a:lnTo>
                    <a:pt x="881252" y="1130300"/>
                  </a:lnTo>
                  <a:lnTo>
                    <a:pt x="888773" y="1117600"/>
                  </a:lnTo>
                  <a:lnTo>
                    <a:pt x="893222" y="1117600"/>
                  </a:lnTo>
                  <a:lnTo>
                    <a:pt x="894576" y="1104900"/>
                  </a:lnTo>
                  <a:lnTo>
                    <a:pt x="892810" y="1092200"/>
                  </a:lnTo>
                  <a:lnTo>
                    <a:pt x="891502" y="1079500"/>
                  </a:lnTo>
                  <a:lnTo>
                    <a:pt x="890254" y="1079500"/>
                  </a:lnTo>
                  <a:lnTo>
                    <a:pt x="889077" y="1066800"/>
                  </a:lnTo>
                  <a:lnTo>
                    <a:pt x="887983" y="1054100"/>
                  </a:lnTo>
                  <a:lnTo>
                    <a:pt x="844930" y="1054100"/>
                  </a:lnTo>
                  <a:lnTo>
                    <a:pt x="838453" y="1041400"/>
                  </a:lnTo>
                  <a:lnTo>
                    <a:pt x="832230" y="1041400"/>
                  </a:lnTo>
                  <a:lnTo>
                    <a:pt x="829817" y="1028700"/>
                  </a:lnTo>
                  <a:lnTo>
                    <a:pt x="815848" y="1028700"/>
                  </a:lnTo>
                  <a:lnTo>
                    <a:pt x="807465" y="1016000"/>
                  </a:lnTo>
                  <a:lnTo>
                    <a:pt x="792988" y="1016000"/>
                  </a:lnTo>
                  <a:lnTo>
                    <a:pt x="789686" y="1003300"/>
                  </a:lnTo>
                  <a:lnTo>
                    <a:pt x="784478" y="1003300"/>
                  </a:lnTo>
                  <a:lnTo>
                    <a:pt x="782319" y="990600"/>
                  </a:lnTo>
                  <a:lnTo>
                    <a:pt x="779271" y="990600"/>
                  </a:lnTo>
                  <a:lnTo>
                    <a:pt x="772160" y="977900"/>
                  </a:lnTo>
                  <a:lnTo>
                    <a:pt x="767968" y="977900"/>
                  </a:lnTo>
                  <a:lnTo>
                    <a:pt x="766190" y="965200"/>
                  </a:lnTo>
                  <a:lnTo>
                    <a:pt x="730619" y="965200"/>
                  </a:lnTo>
                  <a:lnTo>
                    <a:pt x="714120" y="952500"/>
                  </a:lnTo>
                  <a:lnTo>
                    <a:pt x="705770" y="952500"/>
                  </a:lnTo>
                  <a:lnTo>
                    <a:pt x="700190" y="939800"/>
                  </a:lnTo>
                  <a:lnTo>
                    <a:pt x="693801" y="939800"/>
                  </a:lnTo>
                  <a:lnTo>
                    <a:pt x="687004" y="927100"/>
                  </a:lnTo>
                  <a:lnTo>
                    <a:pt x="618363" y="927100"/>
                  </a:lnTo>
                  <a:lnTo>
                    <a:pt x="611377" y="914400"/>
                  </a:lnTo>
                  <a:lnTo>
                    <a:pt x="593851" y="914400"/>
                  </a:lnTo>
                  <a:lnTo>
                    <a:pt x="588010" y="901700"/>
                  </a:lnTo>
                  <a:lnTo>
                    <a:pt x="565530" y="901700"/>
                  </a:lnTo>
                  <a:lnTo>
                    <a:pt x="560324" y="889000"/>
                  </a:lnTo>
                  <a:lnTo>
                    <a:pt x="544702" y="889000"/>
                  </a:lnTo>
                  <a:lnTo>
                    <a:pt x="540385" y="876300"/>
                  </a:lnTo>
                  <a:lnTo>
                    <a:pt x="536448" y="876300"/>
                  </a:lnTo>
                  <a:lnTo>
                    <a:pt x="535177" y="863600"/>
                  </a:lnTo>
                  <a:lnTo>
                    <a:pt x="533653" y="863600"/>
                  </a:lnTo>
                  <a:lnTo>
                    <a:pt x="531494" y="850900"/>
                  </a:lnTo>
                  <a:lnTo>
                    <a:pt x="529716" y="838200"/>
                  </a:lnTo>
                  <a:lnTo>
                    <a:pt x="527050" y="838200"/>
                  </a:lnTo>
                  <a:lnTo>
                    <a:pt x="523875" y="825500"/>
                  </a:lnTo>
                  <a:lnTo>
                    <a:pt x="519811" y="825500"/>
                  </a:lnTo>
                  <a:lnTo>
                    <a:pt x="514223" y="812800"/>
                  </a:lnTo>
                  <a:lnTo>
                    <a:pt x="451865" y="812800"/>
                  </a:lnTo>
                  <a:lnTo>
                    <a:pt x="450595" y="800100"/>
                  </a:lnTo>
                  <a:lnTo>
                    <a:pt x="447548" y="800100"/>
                  </a:lnTo>
                  <a:lnTo>
                    <a:pt x="446786" y="787400"/>
                  </a:lnTo>
                  <a:lnTo>
                    <a:pt x="443611" y="787400"/>
                  </a:lnTo>
                  <a:lnTo>
                    <a:pt x="438657" y="774700"/>
                  </a:lnTo>
                  <a:lnTo>
                    <a:pt x="422275" y="774700"/>
                  </a:lnTo>
                  <a:lnTo>
                    <a:pt x="417449" y="762000"/>
                  </a:lnTo>
                  <a:lnTo>
                    <a:pt x="420369" y="762000"/>
                  </a:lnTo>
                  <a:lnTo>
                    <a:pt x="420750" y="749300"/>
                  </a:lnTo>
                  <a:lnTo>
                    <a:pt x="417321" y="749300"/>
                  </a:lnTo>
                  <a:lnTo>
                    <a:pt x="410082" y="736600"/>
                  </a:lnTo>
                  <a:lnTo>
                    <a:pt x="402716" y="736600"/>
                  </a:lnTo>
                  <a:lnTo>
                    <a:pt x="399668" y="723900"/>
                  </a:lnTo>
                  <a:lnTo>
                    <a:pt x="395731" y="723900"/>
                  </a:lnTo>
                  <a:lnTo>
                    <a:pt x="391032" y="711200"/>
                  </a:lnTo>
                  <a:lnTo>
                    <a:pt x="383413" y="685800"/>
                  </a:lnTo>
                  <a:lnTo>
                    <a:pt x="377443" y="685800"/>
                  </a:lnTo>
                  <a:lnTo>
                    <a:pt x="374650" y="673100"/>
                  </a:lnTo>
                  <a:lnTo>
                    <a:pt x="363727" y="673100"/>
                  </a:lnTo>
                  <a:lnTo>
                    <a:pt x="359028" y="660400"/>
                  </a:lnTo>
                  <a:lnTo>
                    <a:pt x="340232" y="660400"/>
                  </a:lnTo>
                  <a:lnTo>
                    <a:pt x="337438" y="647700"/>
                  </a:lnTo>
                  <a:lnTo>
                    <a:pt x="320486" y="635000"/>
                  </a:lnTo>
                  <a:lnTo>
                    <a:pt x="312880" y="622300"/>
                  </a:lnTo>
                  <a:lnTo>
                    <a:pt x="310822" y="609600"/>
                  </a:lnTo>
                  <a:lnTo>
                    <a:pt x="302894" y="609600"/>
                  </a:lnTo>
                  <a:lnTo>
                    <a:pt x="298037" y="596900"/>
                  </a:lnTo>
                  <a:lnTo>
                    <a:pt x="293750" y="596900"/>
                  </a:lnTo>
                  <a:lnTo>
                    <a:pt x="290347" y="584200"/>
                  </a:lnTo>
                  <a:lnTo>
                    <a:pt x="288337" y="571500"/>
                  </a:lnTo>
                  <a:lnTo>
                    <a:pt x="287732" y="571500"/>
                  </a:lnTo>
                  <a:lnTo>
                    <a:pt x="288543" y="558800"/>
                  </a:lnTo>
                  <a:lnTo>
                    <a:pt x="287274" y="558800"/>
                  </a:lnTo>
                  <a:lnTo>
                    <a:pt x="287527" y="546100"/>
                  </a:lnTo>
                  <a:lnTo>
                    <a:pt x="287527" y="533400"/>
                  </a:lnTo>
                  <a:lnTo>
                    <a:pt x="287674" y="533400"/>
                  </a:lnTo>
                  <a:lnTo>
                    <a:pt x="288131" y="520700"/>
                  </a:lnTo>
                  <a:lnTo>
                    <a:pt x="288921" y="520700"/>
                  </a:lnTo>
                  <a:lnTo>
                    <a:pt x="291591" y="495300"/>
                  </a:lnTo>
                  <a:lnTo>
                    <a:pt x="291083" y="495300"/>
                  </a:lnTo>
                  <a:lnTo>
                    <a:pt x="288798" y="482600"/>
                  </a:lnTo>
                  <a:lnTo>
                    <a:pt x="286638" y="469900"/>
                  </a:lnTo>
                  <a:lnTo>
                    <a:pt x="288543" y="469900"/>
                  </a:lnTo>
                  <a:lnTo>
                    <a:pt x="289051" y="457200"/>
                  </a:lnTo>
                  <a:lnTo>
                    <a:pt x="309737" y="457200"/>
                  </a:lnTo>
                  <a:lnTo>
                    <a:pt x="303615" y="444500"/>
                  </a:lnTo>
                  <a:lnTo>
                    <a:pt x="295528" y="444500"/>
                  </a:lnTo>
                  <a:lnTo>
                    <a:pt x="277290" y="431800"/>
                  </a:lnTo>
                  <a:lnTo>
                    <a:pt x="264112" y="419100"/>
                  </a:lnTo>
                  <a:lnTo>
                    <a:pt x="252983" y="419100"/>
                  </a:lnTo>
                  <a:lnTo>
                    <a:pt x="256666" y="406400"/>
                  </a:lnTo>
                  <a:lnTo>
                    <a:pt x="237616" y="406400"/>
                  </a:lnTo>
                  <a:lnTo>
                    <a:pt x="236727" y="393700"/>
                  </a:lnTo>
                  <a:lnTo>
                    <a:pt x="235712" y="393700"/>
                  </a:lnTo>
                  <a:lnTo>
                    <a:pt x="234187" y="381000"/>
                  </a:lnTo>
                  <a:lnTo>
                    <a:pt x="219710" y="381000"/>
                  </a:lnTo>
                  <a:lnTo>
                    <a:pt x="249947" y="342900"/>
                  </a:lnTo>
                  <a:lnTo>
                    <a:pt x="283261" y="304800"/>
                  </a:lnTo>
                  <a:lnTo>
                    <a:pt x="319658" y="266700"/>
                  </a:lnTo>
                  <a:lnTo>
                    <a:pt x="359146" y="228600"/>
                  </a:lnTo>
                  <a:lnTo>
                    <a:pt x="401731" y="203200"/>
                  </a:lnTo>
                  <a:lnTo>
                    <a:pt x="447420" y="177800"/>
                  </a:lnTo>
                  <a:lnTo>
                    <a:pt x="455294" y="177800"/>
                  </a:lnTo>
                  <a:lnTo>
                    <a:pt x="501316" y="152400"/>
                  </a:lnTo>
                  <a:lnTo>
                    <a:pt x="524000" y="152400"/>
                  </a:lnTo>
                  <a:lnTo>
                    <a:pt x="546480" y="139700"/>
                  </a:lnTo>
                  <a:lnTo>
                    <a:pt x="646176" y="139700"/>
                  </a:lnTo>
                  <a:lnTo>
                    <a:pt x="648080" y="127000"/>
                  </a:lnTo>
                  <a:lnTo>
                    <a:pt x="1187836" y="127000"/>
                  </a:lnTo>
                  <a:lnTo>
                    <a:pt x="1165604" y="114300"/>
                  </a:lnTo>
                  <a:lnTo>
                    <a:pt x="1118235" y="88900"/>
                  </a:lnTo>
                  <a:lnTo>
                    <a:pt x="1074890" y="63500"/>
                  </a:lnTo>
                  <a:lnTo>
                    <a:pt x="1030581" y="50800"/>
                  </a:lnTo>
                  <a:lnTo>
                    <a:pt x="985307" y="25400"/>
                  </a:lnTo>
                  <a:lnTo>
                    <a:pt x="939069" y="12700"/>
                  </a:lnTo>
                  <a:close/>
                </a:path>
                <a:path w="1489075" h="1358900">
                  <a:moveTo>
                    <a:pt x="1444036" y="914400"/>
                  </a:moveTo>
                  <a:lnTo>
                    <a:pt x="769619" y="914400"/>
                  </a:lnTo>
                  <a:lnTo>
                    <a:pt x="772921" y="927100"/>
                  </a:lnTo>
                  <a:lnTo>
                    <a:pt x="805561" y="927100"/>
                  </a:lnTo>
                  <a:lnTo>
                    <a:pt x="812038" y="939800"/>
                  </a:lnTo>
                  <a:lnTo>
                    <a:pt x="818388" y="939800"/>
                  </a:lnTo>
                  <a:lnTo>
                    <a:pt x="822070" y="952500"/>
                  </a:lnTo>
                  <a:lnTo>
                    <a:pt x="824229" y="952500"/>
                  </a:lnTo>
                  <a:lnTo>
                    <a:pt x="828420" y="965200"/>
                  </a:lnTo>
                  <a:lnTo>
                    <a:pt x="829055" y="977900"/>
                  </a:lnTo>
                  <a:lnTo>
                    <a:pt x="968501" y="977900"/>
                  </a:lnTo>
                  <a:lnTo>
                    <a:pt x="971676" y="990600"/>
                  </a:lnTo>
                  <a:lnTo>
                    <a:pt x="1007363" y="990600"/>
                  </a:lnTo>
                  <a:lnTo>
                    <a:pt x="1011174" y="1003300"/>
                  </a:lnTo>
                  <a:lnTo>
                    <a:pt x="1088263" y="1003300"/>
                  </a:lnTo>
                  <a:lnTo>
                    <a:pt x="1091818" y="1016000"/>
                  </a:lnTo>
                  <a:lnTo>
                    <a:pt x="1105662" y="1016000"/>
                  </a:lnTo>
                  <a:lnTo>
                    <a:pt x="1108964" y="1028700"/>
                  </a:lnTo>
                  <a:lnTo>
                    <a:pt x="1128014" y="1028700"/>
                  </a:lnTo>
                  <a:lnTo>
                    <a:pt x="1132077" y="1041400"/>
                  </a:lnTo>
                  <a:lnTo>
                    <a:pt x="1142745" y="1041400"/>
                  </a:lnTo>
                  <a:lnTo>
                    <a:pt x="1145031" y="1054100"/>
                  </a:lnTo>
                  <a:lnTo>
                    <a:pt x="1149223" y="1054100"/>
                  </a:lnTo>
                  <a:lnTo>
                    <a:pt x="1156969" y="1066800"/>
                  </a:lnTo>
                  <a:lnTo>
                    <a:pt x="1190243" y="1066800"/>
                  </a:lnTo>
                  <a:lnTo>
                    <a:pt x="1192402" y="1079500"/>
                  </a:lnTo>
                  <a:lnTo>
                    <a:pt x="1156327" y="1104900"/>
                  </a:lnTo>
                  <a:lnTo>
                    <a:pt x="1118399" y="1130300"/>
                  </a:lnTo>
                  <a:lnTo>
                    <a:pt x="1078623" y="1155700"/>
                  </a:lnTo>
                  <a:lnTo>
                    <a:pt x="1037002" y="1181100"/>
                  </a:lnTo>
                  <a:lnTo>
                    <a:pt x="993542" y="1206499"/>
                  </a:lnTo>
                  <a:lnTo>
                    <a:pt x="948247" y="1219199"/>
                  </a:lnTo>
                  <a:lnTo>
                    <a:pt x="901121" y="1231899"/>
                  </a:lnTo>
                  <a:lnTo>
                    <a:pt x="852169" y="1244599"/>
                  </a:lnTo>
                  <a:lnTo>
                    <a:pt x="1165604" y="1244599"/>
                  </a:lnTo>
                  <a:lnTo>
                    <a:pt x="1210069" y="1219199"/>
                  </a:lnTo>
                  <a:lnTo>
                    <a:pt x="1251636" y="1181100"/>
                  </a:lnTo>
                  <a:lnTo>
                    <a:pt x="1290307" y="1143000"/>
                  </a:lnTo>
                  <a:lnTo>
                    <a:pt x="1326089" y="1104900"/>
                  </a:lnTo>
                  <a:lnTo>
                    <a:pt x="1358984" y="1066800"/>
                  </a:lnTo>
                  <a:lnTo>
                    <a:pt x="1388999" y="1028700"/>
                  </a:lnTo>
                  <a:lnTo>
                    <a:pt x="1415489" y="977900"/>
                  </a:lnTo>
                  <a:lnTo>
                    <a:pt x="1437916" y="927100"/>
                  </a:lnTo>
                  <a:lnTo>
                    <a:pt x="1444036" y="914400"/>
                  </a:lnTo>
                  <a:close/>
                </a:path>
                <a:path w="1489075" h="1358900">
                  <a:moveTo>
                    <a:pt x="887212" y="1041400"/>
                  </a:moveTo>
                  <a:lnTo>
                    <a:pt x="866282" y="1041400"/>
                  </a:lnTo>
                  <a:lnTo>
                    <a:pt x="862034" y="1054100"/>
                  </a:lnTo>
                  <a:lnTo>
                    <a:pt x="887983" y="1054100"/>
                  </a:lnTo>
                  <a:lnTo>
                    <a:pt x="887212" y="1041400"/>
                  </a:lnTo>
                  <a:close/>
                </a:path>
                <a:path w="1489075" h="1358900">
                  <a:moveTo>
                    <a:pt x="885287" y="1028700"/>
                  </a:moveTo>
                  <a:lnTo>
                    <a:pt x="869695" y="1028700"/>
                  </a:lnTo>
                  <a:lnTo>
                    <a:pt x="868840" y="1041400"/>
                  </a:lnTo>
                  <a:lnTo>
                    <a:pt x="886285" y="1041400"/>
                  </a:lnTo>
                  <a:lnTo>
                    <a:pt x="885287" y="1028700"/>
                  </a:lnTo>
                  <a:close/>
                </a:path>
                <a:path w="1489075" h="1358900">
                  <a:moveTo>
                    <a:pt x="919479" y="1003300"/>
                  </a:moveTo>
                  <a:lnTo>
                    <a:pt x="822325" y="1003300"/>
                  </a:lnTo>
                  <a:lnTo>
                    <a:pt x="831869" y="1016000"/>
                  </a:lnTo>
                  <a:lnTo>
                    <a:pt x="842962" y="1028700"/>
                  </a:lnTo>
                  <a:lnTo>
                    <a:pt x="909574" y="1028700"/>
                  </a:lnTo>
                  <a:lnTo>
                    <a:pt x="913511" y="1016000"/>
                  </a:lnTo>
                  <a:lnTo>
                    <a:pt x="916939" y="1016000"/>
                  </a:lnTo>
                  <a:lnTo>
                    <a:pt x="919479" y="1003300"/>
                  </a:lnTo>
                  <a:close/>
                </a:path>
                <a:path w="1489075" h="1358900">
                  <a:moveTo>
                    <a:pt x="973708" y="1003300"/>
                  </a:moveTo>
                  <a:lnTo>
                    <a:pt x="971676" y="1003300"/>
                  </a:lnTo>
                  <a:lnTo>
                    <a:pt x="967231" y="1016000"/>
                  </a:lnTo>
                  <a:lnTo>
                    <a:pt x="973201" y="1016000"/>
                  </a:lnTo>
                  <a:lnTo>
                    <a:pt x="973708" y="1003300"/>
                  </a:lnTo>
                  <a:close/>
                </a:path>
                <a:path w="1489075" h="1358900">
                  <a:moveTo>
                    <a:pt x="1083690" y="1003300"/>
                  </a:moveTo>
                  <a:lnTo>
                    <a:pt x="1037653" y="1003300"/>
                  </a:lnTo>
                  <a:lnTo>
                    <a:pt x="1046737" y="1016000"/>
                  </a:lnTo>
                  <a:lnTo>
                    <a:pt x="1081531" y="1016000"/>
                  </a:lnTo>
                  <a:lnTo>
                    <a:pt x="1083690" y="1003300"/>
                  </a:lnTo>
                  <a:close/>
                </a:path>
                <a:path w="1489075" h="1358900">
                  <a:moveTo>
                    <a:pt x="940688" y="990600"/>
                  </a:moveTo>
                  <a:lnTo>
                    <a:pt x="816101" y="990600"/>
                  </a:lnTo>
                  <a:lnTo>
                    <a:pt x="816863" y="1003300"/>
                  </a:lnTo>
                  <a:lnTo>
                    <a:pt x="936243" y="1003300"/>
                  </a:lnTo>
                  <a:lnTo>
                    <a:pt x="940688" y="990600"/>
                  </a:lnTo>
                  <a:close/>
                </a:path>
                <a:path w="1489075" h="1358900">
                  <a:moveTo>
                    <a:pt x="979677" y="990600"/>
                  </a:moveTo>
                  <a:lnTo>
                    <a:pt x="976756" y="990600"/>
                  </a:lnTo>
                  <a:lnTo>
                    <a:pt x="976121" y="1003300"/>
                  </a:lnTo>
                  <a:lnTo>
                    <a:pt x="976502" y="1003300"/>
                  </a:lnTo>
                  <a:lnTo>
                    <a:pt x="979677" y="990600"/>
                  </a:lnTo>
                  <a:close/>
                </a:path>
                <a:path w="1489075" h="1358900">
                  <a:moveTo>
                    <a:pt x="968501" y="977900"/>
                  </a:moveTo>
                  <a:lnTo>
                    <a:pt x="813053" y="977900"/>
                  </a:lnTo>
                  <a:lnTo>
                    <a:pt x="813053" y="990600"/>
                  </a:lnTo>
                  <a:lnTo>
                    <a:pt x="963549" y="990600"/>
                  </a:lnTo>
                  <a:lnTo>
                    <a:pt x="968501" y="977900"/>
                  </a:lnTo>
                  <a:close/>
                </a:path>
                <a:path w="1489075" h="1358900">
                  <a:moveTo>
                    <a:pt x="829944" y="749300"/>
                  </a:moveTo>
                  <a:lnTo>
                    <a:pt x="646302" y="749300"/>
                  </a:lnTo>
                  <a:lnTo>
                    <a:pt x="638810" y="762000"/>
                  </a:lnTo>
                  <a:lnTo>
                    <a:pt x="633983" y="762000"/>
                  </a:lnTo>
                  <a:lnTo>
                    <a:pt x="637666" y="774700"/>
                  </a:lnTo>
                  <a:lnTo>
                    <a:pt x="639444" y="774700"/>
                  </a:lnTo>
                  <a:lnTo>
                    <a:pt x="638937" y="787400"/>
                  </a:lnTo>
                  <a:lnTo>
                    <a:pt x="637920" y="800100"/>
                  </a:lnTo>
                  <a:lnTo>
                    <a:pt x="636269" y="812800"/>
                  </a:lnTo>
                  <a:lnTo>
                    <a:pt x="634491" y="812800"/>
                  </a:lnTo>
                  <a:lnTo>
                    <a:pt x="633729" y="825500"/>
                  </a:lnTo>
                  <a:lnTo>
                    <a:pt x="634283" y="838200"/>
                  </a:lnTo>
                  <a:lnTo>
                    <a:pt x="635968" y="850900"/>
                  </a:lnTo>
                  <a:lnTo>
                    <a:pt x="774826" y="850900"/>
                  </a:lnTo>
                  <a:lnTo>
                    <a:pt x="774191" y="863600"/>
                  </a:lnTo>
                  <a:lnTo>
                    <a:pt x="772667" y="863600"/>
                  </a:lnTo>
                  <a:lnTo>
                    <a:pt x="770508" y="876300"/>
                  </a:lnTo>
                  <a:lnTo>
                    <a:pt x="766190" y="876300"/>
                  </a:lnTo>
                  <a:lnTo>
                    <a:pt x="763269" y="889000"/>
                  </a:lnTo>
                  <a:lnTo>
                    <a:pt x="758063" y="889000"/>
                  </a:lnTo>
                  <a:lnTo>
                    <a:pt x="756538" y="901700"/>
                  </a:lnTo>
                  <a:lnTo>
                    <a:pt x="755650" y="901700"/>
                  </a:lnTo>
                  <a:lnTo>
                    <a:pt x="753617" y="927100"/>
                  </a:lnTo>
                  <a:lnTo>
                    <a:pt x="769619" y="927100"/>
                  </a:lnTo>
                  <a:lnTo>
                    <a:pt x="769619" y="914400"/>
                  </a:lnTo>
                  <a:lnTo>
                    <a:pt x="1444036" y="914400"/>
                  </a:lnTo>
                  <a:lnTo>
                    <a:pt x="1456276" y="889000"/>
                  </a:lnTo>
                  <a:lnTo>
                    <a:pt x="1470563" y="838200"/>
                  </a:lnTo>
                  <a:lnTo>
                    <a:pt x="1480774" y="787400"/>
                  </a:lnTo>
                  <a:lnTo>
                    <a:pt x="844268" y="787400"/>
                  </a:lnTo>
                  <a:lnTo>
                    <a:pt x="839819" y="774700"/>
                  </a:lnTo>
                  <a:lnTo>
                    <a:pt x="835036" y="762000"/>
                  </a:lnTo>
                  <a:lnTo>
                    <a:pt x="829944" y="749300"/>
                  </a:lnTo>
                  <a:close/>
                </a:path>
                <a:path w="1489075" h="1358900">
                  <a:moveTo>
                    <a:pt x="706627" y="889000"/>
                  </a:moveTo>
                  <a:lnTo>
                    <a:pt x="687831" y="889000"/>
                  </a:lnTo>
                  <a:lnTo>
                    <a:pt x="699007" y="901700"/>
                  </a:lnTo>
                  <a:lnTo>
                    <a:pt x="706627" y="889000"/>
                  </a:lnTo>
                  <a:close/>
                </a:path>
                <a:path w="1489075" h="1358900">
                  <a:moveTo>
                    <a:pt x="723518" y="876300"/>
                  </a:moveTo>
                  <a:lnTo>
                    <a:pt x="652938" y="876300"/>
                  </a:lnTo>
                  <a:lnTo>
                    <a:pt x="658625" y="889000"/>
                  </a:lnTo>
                  <a:lnTo>
                    <a:pt x="721867" y="889000"/>
                  </a:lnTo>
                  <a:lnTo>
                    <a:pt x="723518" y="876300"/>
                  </a:lnTo>
                  <a:close/>
                </a:path>
                <a:path w="1489075" h="1358900">
                  <a:moveTo>
                    <a:pt x="737663" y="850900"/>
                  </a:moveTo>
                  <a:lnTo>
                    <a:pt x="638819" y="850900"/>
                  </a:lnTo>
                  <a:lnTo>
                    <a:pt x="642874" y="863600"/>
                  </a:lnTo>
                  <a:lnTo>
                    <a:pt x="647680" y="876300"/>
                  </a:lnTo>
                  <a:lnTo>
                    <a:pt x="726058" y="876300"/>
                  </a:lnTo>
                  <a:lnTo>
                    <a:pt x="727201" y="863600"/>
                  </a:lnTo>
                  <a:lnTo>
                    <a:pt x="732053" y="863600"/>
                  </a:lnTo>
                  <a:lnTo>
                    <a:pt x="737663" y="850900"/>
                  </a:lnTo>
                  <a:close/>
                </a:path>
                <a:path w="1489075" h="1358900">
                  <a:moveTo>
                    <a:pt x="446150" y="736600"/>
                  </a:moveTo>
                  <a:lnTo>
                    <a:pt x="428575" y="736600"/>
                  </a:lnTo>
                  <a:lnTo>
                    <a:pt x="435228" y="749300"/>
                  </a:lnTo>
                  <a:lnTo>
                    <a:pt x="446057" y="774700"/>
                  </a:lnTo>
                  <a:lnTo>
                    <a:pt x="453564" y="787400"/>
                  </a:lnTo>
                  <a:lnTo>
                    <a:pt x="457713" y="800100"/>
                  </a:lnTo>
                  <a:lnTo>
                    <a:pt x="458469" y="812800"/>
                  </a:lnTo>
                  <a:lnTo>
                    <a:pt x="507111" y="812800"/>
                  </a:lnTo>
                  <a:lnTo>
                    <a:pt x="499999" y="800100"/>
                  </a:lnTo>
                  <a:lnTo>
                    <a:pt x="492887" y="800100"/>
                  </a:lnTo>
                  <a:lnTo>
                    <a:pt x="487806" y="787400"/>
                  </a:lnTo>
                  <a:lnTo>
                    <a:pt x="482600" y="774700"/>
                  </a:lnTo>
                  <a:lnTo>
                    <a:pt x="473201" y="774700"/>
                  </a:lnTo>
                  <a:lnTo>
                    <a:pt x="450595" y="749300"/>
                  </a:lnTo>
                  <a:lnTo>
                    <a:pt x="446150" y="736600"/>
                  </a:lnTo>
                  <a:close/>
                </a:path>
                <a:path w="1489075" h="1358900">
                  <a:moveTo>
                    <a:pt x="1187836" y="127000"/>
                  </a:moveTo>
                  <a:lnTo>
                    <a:pt x="690117" y="127000"/>
                  </a:lnTo>
                  <a:lnTo>
                    <a:pt x="700545" y="139700"/>
                  </a:lnTo>
                  <a:lnTo>
                    <a:pt x="705246" y="139700"/>
                  </a:lnTo>
                  <a:lnTo>
                    <a:pt x="704351" y="152400"/>
                  </a:lnTo>
                  <a:lnTo>
                    <a:pt x="831468" y="152400"/>
                  </a:lnTo>
                  <a:lnTo>
                    <a:pt x="834263" y="165100"/>
                  </a:lnTo>
                  <a:lnTo>
                    <a:pt x="839977" y="177800"/>
                  </a:lnTo>
                  <a:lnTo>
                    <a:pt x="836929" y="177800"/>
                  </a:lnTo>
                  <a:lnTo>
                    <a:pt x="839596" y="190500"/>
                  </a:lnTo>
                  <a:lnTo>
                    <a:pt x="838453" y="190500"/>
                  </a:lnTo>
                  <a:lnTo>
                    <a:pt x="837438" y="203200"/>
                  </a:lnTo>
                  <a:lnTo>
                    <a:pt x="775842" y="203200"/>
                  </a:lnTo>
                  <a:lnTo>
                    <a:pt x="771778" y="215900"/>
                  </a:lnTo>
                  <a:lnTo>
                    <a:pt x="767206" y="215900"/>
                  </a:lnTo>
                  <a:lnTo>
                    <a:pt x="763651" y="228600"/>
                  </a:lnTo>
                  <a:lnTo>
                    <a:pt x="760221" y="228600"/>
                  </a:lnTo>
                  <a:lnTo>
                    <a:pt x="751713" y="241300"/>
                  </a:lnTo>
                  <a:lnTo>
                    <a:pt x="711453" y="241300"/>
                  </a:lnTo>
                  <a:lnTo>
                    <a:pt x="709167" y="254000"/>
                  </a:lnTo>
                  <a:lnTo>
                    <a:pt x="937617" y="254000"/>
                  </a:lnTo>
                  <a:lnTo>
                    <a:pt x="947038" y="266700"/>
                  </a:lnTo>
                  <a:lnTo>
                    <a:pt x="971676" y="266700"/>
                  </a:lnTo>
                  <a:lnTo>
                    <a:pt x="978026" y="279400"/>
                  </a:lnTo>
                  <a:lnTo>
                    <a:pt x="996314" y="279400"/>
                  </a:lnTo>
                  <a:lnTo>
                    <a:pt x="996823" y="292100"/>
                  </a:lnTo>
                  <a:lnTo>
                    <a:pt x="1070102" y="292100"/>
                  </a:lnTo>
                  <a:lnTo>
                    <a:pt x="1071244" y="304800"/>
                  </a:lnTo>
                  <a:lnTo>
                    <a:pt x="1077214" y="304800"/>
                  </a:lnTo>
                  <a:lnTo>
                    <a:pt x="1077849" y="317500"/>
                  </a:lnTo>
                  <a:lnTo>
                    <a:pt x="1086992" y="317500"/>
                  </a:lnTo>
                  <a:lnTo>
                    <a:pt x="1091691" y="330200"/>
                  </a:lnTo>
                  <a:lnTo>
                    <a:pt x="1096010" y="330200"/>
                  </a:lnTo>
                  <a:lnTo>
                    <a:pt x="1097914" y="342900"/>
                  </a:lnTo>
                  <a:lnTo>
                    <a:pt x="1099692" y="342900"/>
                  </a:lnTo>
                  <a:lnTo>
                    <a:pt x="1101725" y="355600"/>
                  </a:lnTo>
                  <a:lnTo>
                    <a:pt x="1110741" y="355600"/>
                  </a:lnTo>
                  <a:lnTo>
                    <a:pt x="1115567" y="368300"/>
                  </a:lnTo>
                  <a:lnTo>
                    <a:pt x="1153160" y="368300"/>
                  </a:lnTo>
                  <a:lnTo>
                    <a:pt x="1155318" y="381000"/>
                  </a:lnTo>
                  <a:lnTo>
                    <a:pt x="1162303" y="381000"/>
                  </a:lnTo>
                  <a:lnTo>
                    <a:pt x="1167891" y="393700"/>
                  </a:lnTo>
                  <a:lnTo>
                    <a:pt x="1175639" y="393700"/>
                  </a:lnTo>
                  <a:lnTo>
                    <a:pt x="1173606" y="406400"/>
                  </a:lnTo>
                  <a:lnTo>
                    <a:pt x="1171828" y="406400"/>
                  </a:lnTo>
                  <a:lnTo>
                    <a:pt x="1166876" y="419100"/>
                  </a:lnTo>
                  <a:lnTo>
                    <a:pt x="1138046" y="419100"/>
                  </a:lnTo>
                  <a:lnTo>
                    <a:pt x="1130680" y="431800"/>
                  </a:lnTo>
                  <a:lnTo>
                    <a:pt x="1123441" y="431800"/>
                  </a:lnTo>
                  <a:lnTo>
                    <a:pt x="1120624" y="443070"/>
                  </a:lnTo>
                  <a:lnTo>
                    <a:pt x="1121664" y="444500"/>
                  </a:lnTo>
                  <a:lnTo>
                    <a:pt x="1043787" y="444500"/>
                  </a:lnTo>
                  <a:lnTo>
                    <a:pt x="1053845" y="457200"/>
                  </a:lnTo>
                  <a:lnTo>
                    <a:pt x="1065597" y="457200"/>
                  </a:lnTo>
                  <a:lnTo>
                    <a:pt x="1060577" y="469900"/>
                  </a:lnTo>
                  <a:lnTo>
                    <a:pt x="1057655" y="469900"/>
                  </a:lnTo>
                  <a:lnTo>
                    <a:pt x="1058544" y="482600"/>
                  </a:lnTo>
                  <a:lnTo>
                    <a:pt x="1062640" y="482600"/>
                  </a:lnTo>
                  <a:lnTo>
                    <a:pt x="1065752" y="495300"/>
                  </a:lnTo>
                  <a:lnTo>
                    <a:pt x="1062354" y="495300"/>
                  </a:lnTo>
                  <a:lnTo>
                    <a:pt x="1055760" y="508000"/>
                  </a:lnTo>
                  <a:lnTo>
                    <a:pt x="1032382" y="508000"/>
                  </a:lnTo>
                  <a:lnTo>
                    <a:pt x="1015873" y="520700"/>
                  </a:lnTo>
                  <a:lnTo>
                    <a:pt x="1003300" y="520700"/>
                  </a:lnTo>
                  <a:lnTo>
                    <a:pt x="995933" y="533400"/>
                  </a:lnTo>
                  <a:lnTo>
                    <a:pt x="986916" y="533400"/>
                  </a:lnTo>
                  <a:lnTo>
                    <a:pt x="985646" y="546100"/>
                  </a:lnTo>
                  <a:lnTo>
                    <a:pt x="985138" y="558800"/>
                  </a:lnTo>
                  <a:lnTo>
                    <a:pt x="968755" y="558800"/>
                  </a:lnTo>
                  <a:lnTo>
                    <a:pt x="958723" y="571500"/>
                  </a:lnTo>
                  <a:lnTo>
                    <a:pt x="938911" y="571500"/>
                  </a:lnTo>
                  <a:lnTo>
                    <a:pt x="943228" y="584200"/>
                  </a:lnTo>
                  <a:lnTo>
                    <a:pt x="937894" y="584200"/>
                  </a:lnTo>
                  <a:lnTo>
                    <a:pt x="930275" y="596900"/>
                  </a:lnTo>
                  <a:lnTo>
                    <a:pt x="908685" y="596900"/>
                  </a:lnTo>
                  <a:lnTo>
                    <a:pt x="906526" y="609600"/>
                  </a:lnTo>
                  <a:lnTo>
                    <a:pt x="907541" y="609600"/>
                  </a:lnTo>
                  <a:lnTo>
                    <a:pt x="906906" y="622300"/>
                  </a:lnTo>
                  <a:lnTo>
                    <a:pt x="912621" y="622300"/>
                  </a:lnTo>
                  <a:lnTo>
                    <a:pt x="915162" y="635000"/>
                  </a:lnTo>
                  <a:lnTo>
                    <a:pt x="906779" y="635000"/>
                  </a:lnTo>
                  <a:lnTo>
                    <a:pt x="908036" y="647700"/>
                  </a:lnTo>
                  <a:lnTo>
                    <a:pt x="906065" y="647700"/>
                  </a:lnTo>
                  <a:lnTo>
                    <a:pt x="900832" y="660400"/>
                  </a:lnTo>
                  <a:lnTo>
                    <a:pt x="892301" y="673100"/>
                  </a:lnTo>
                  <a:lnTo>
                    <a:pt x="874902" y="673100"/>
                  </a:lnTo>
                  <a:lnTo>
                    <a:pt x="869695" y="685800"/>
                  </a:lnTo>
                  <a:lnTo>
                    <a:pt x="851026" y="685800"/>
                  </a:lnTo>
                  <a:lnTo>
                    <a:pt x="846327" y="698500"/>
                  </a:lnTo>
                  <a:lnTo>
                    <a:pt x="842899" y="698500"/>
                  </a:lnTo>
                  <a:lnTo>
                    <a:pt x="839596" y="711200"/>
                  </a:lnTo>
                  <a:lnTo>
                    <a:pt x="839215" y="711200"/>
                  </a:lnTo>
                  <a:lnTo>
                    <a:pt x="841375" y="723900"/>
                  </a:lnTo>
                  <a:lnTo>
                    <a:pt x="859536" y="723900"/>
                  </a:lnTo>
                  <a:lnTo>
                    <a:pt x="860551" y="736600"/>
                  </a:lnTo>
                  <a:lnTo>
                    <a:pt x="860551" y="749300"/>
                  </a:lnTo>
                  <a:lnTo>
                    <a:pt x="861821" y="762000"/>
                  </a:lnTo>
                  <a:lnTo>
                    <a:pt x="862838" y="762000"/>
                  </a:lnTo>
                  <a:lnTo>
                    <a:pt x="863345" y="774700"/>
                  </a:lnTo>
                  <a:lnTo>
                    <a:pt x="863600" y="774700"/>
                  </a:lnTo>
                  <a:lnTo>
                    <a:pt x="863345" y="787400"/>
                  </a:lnTo>
                  <a:lnTo>
                    <a:pt x="1480774" y="787400"/>
                  </a:lnTo>
                  <a:lnTo>
                    <a:pt x="1486903" y="736600"/>
                  </a:lnTo>
                  <a:lnTo>
                    <a:pt x="1488948" y="685800"/>
                  </a:lnTo>
                  <a:lnTo>
                    <a:pt x="1486897" y="622300"/>
                  </a:lnTo>
                  <a:lnTo>
                    <a:pt x="1480751" y="571500"/>
                  </a:lnTo>
                  <a:lnTo>
                    <a:pt x="1470523" y="520700"/>
                  </a:lnTo>
                  <a:lnTo>
                    <a:pt x="1456222" y="469900"/>
                  </a:lnTo>
                  <a:lnTo>
                    <a:pt x="1437861" y="431800"/>
                  </a:lnTo>
                  <a:lnTo>
                    <a:pt x="1415449" y="381000"/>
                  </a:lnTo>
                  <a:lnTo>
                    <a:pt x="1388999" y="330200"/>
                  </a:lnTo>
                  <a:lnTo>
                    <a:pt x="1358984" y="292100"/>
                  </a:lnTo>
                  <a:lnTo>
                    <a:pt x="1326089" y="254000"/>
                  </a:lnTo>
                  <a:lnTo>
                    <a:pt x="1290307" y="215900"/>
                  </a:lnTo>
                  <a:lnTo>
                    <a:pt x="1251636" y="177800"/>
                  </a:lnTo>
                  <a:lnTo>
                    <a:pt x="1210069" y="139700"/>
                  </a:lnTo>
                  <a:lnTo>
                    <a:pt x="1187836" y="127000"/>
                  </a:lnTo>
                  <a:close/>
                </a:path>
                <a:path w="1489075" h="1358900">
                  <a:moveTo>
                    <a:pt x="818388" y="723900"/>
                  </a:moveTo>
                  <a:lnTo>
                    <a:pt x="815213" y="736600"/>
                  </a:lnTo>
                  <a:lnTo>
                    <a:pt x="666114" y="736600"/>
                  </a:lnTo>
                  <a:lnTo>
                    <a:pt x="664844" y="749300"/>
                  </a:lnTo>
                  <a:lnTo>
                    <a:pt x="828801" y="749300"/>
                  </a:lnTo>
                  <a:lnTo>
                    <a:pt x="824864" y="736600"/>
                  </a:lnTo>
                  <a:lnTo>
                    <a:pt x="818388" y="723900"/>
                  </a:lnTo>
                  <a:close/>
                </a:path>
                <a:path w="1489075" h="1358900">
                  <a:moveTo>
                    <a:pt x="434593" y="723900"/>
                  </a:moveTo>
                  <a:lnTo>
                    <a:pt x="420316" y="723900"/>
                  </a:lnTo>
                  <a:lnTo>
                    <a:pt x="423624" y="736600"/>
                  </a:lnTo>
                  <a:lnTo>
                    <a:pt x="437895" y="736600"/>
                  </a:lnTo>
                  <a:lnTo>
                    <a:pt x="434593" y="723900"/>
                  </a:lnTo>
                  <a:close/>
                </a:path>
                <a:path w="1489075" h="1358900">
                  <a:moveTo>
                    <a:pt x="710928" y="723900"/>
                  </a:moveTo>
                  <a:lnTo>
                    <a:pt x="697557" y="723900"/>
                  </a:lnTo>
                  <a:lnTo>
                    <a:pt x="688086" y="736600"/>
                  </a:lnTo>
                  <a:lnTo>
                    <a:pt x="714755" y="736600"/>
                  </a:lnTo>
                  <a:lnTo>
                    <a:pt x="710928" y="723900"/>
                  </a:lnTo>
                  <a:close/>
                </a:path>
                <a:path w="1489075" h="1358900">
                  <a:moveTo>
                    <a:pt x="797813" y="723900"/>
                  </a:moveTo>
                  <a:lnTo>
                    <a:pt x="736091" y="723900"/>
                  </a:lnTo>
                  <a:lnTo>
                    <a:pt x="736091" y="736600"/>
                  </a:lnTo>
                  <a:lnTo>
                    <a:pt x="800100" y="736600"/>
                  </a:lnTo>
                  <a:lnTo>
                    <a:pt x="797813" y="723900"/>
                  </a:lnTo>
                  <a:close/>
                </a:path>
                <a:path w="1489075" h="1358900">
                  <a:moveTo>
                    <a:pt x="430402" y="711200"/>
                  </a:moveTo>
                  <a:lnTo>
                    <a:pt x="413385" y="711200"/>
                  </a:lnTo>
                  <a:lnTo>
                    <a:pt x="414781" y="723900"/>
                  </a:lnTo>
                  <a:lnTo>
                    <a:pt x="431164" y="723900"/>
                  </a:lnTo>
                  <a:lnTo>
                    <a:pt x="430402" y="711200"/>
                  </a:lnTo>
                  <a:close/>
                </a:path>
                <a:path w="1489075" h="1358900">
                  <a:moveTo>
                    <a:pt x="733298" y="711200"/>
                  </a:moveTo>
                  <a:lnTo>
                    <a:pt x="732027" y="711200"/>
                  </a:lnTo>
                  <a:lnTo>
                    <a:pt x="733805" y="723900"/>
                  </a:lnTo>
                  <a:lnTo>
                    <a:pt x="736971" y="723900"/>
                  </a:lnTo>
                  <a:lnTo>
                    <a:pt x="733298" y="711200"/>
                  </a:lnTo>
                  <a:close/>
                </a:path>
                <a:path w="1489075" h="1358900">
                  <a:moveTo>
                    <a:pt x="423290" y="698500"/>
                  </a:moveTo>
                  <a:lnTo>
                    <a:pt x="410210" y="698500"/>
                  </a:lnTo>
                  <a:lnTo>
                    <a:pt x="411733" y="711200"/>
                  </a:lnTo>
                  <a:lnTo>
                    <a:pt x="426338" y="711200"/>
                  </a:lnTo>
                  <a:lnTo>
                    <a:pt x="423290" y="698500"/>
                  </a:lnTo>
                  <a:close/>
                </a:path>
                <a:path w="1489075" h="1358900">
                  <a:moveTo>
                    <a:pt x="917575" y="584200"/>
                  </a:moveTo>
                  <a:lnTo>
                    <a:pt x="914273" y="584200"/>
                  </a:lnTo>
                  <a:lnTo>
                    <a:pt x="911987" y="596900"/>
                  </a:lnTo>
                  <a:lnTo>
                    <a:pt x="923543" y="596900"/>
                  </a:lnTo>
                  <a:lnTo>
                    <a:pt x="917575" y="584200"/>
                  </a:lnTo>
                  <a:close/>
                </a:path>
                <a:path w="1489075" h="1358900">
                  <a:moveTo>
                    <a:pt x="314578" y="469900"/>
                  </a:moveTo>
                  <a:lnTo>
                    <a:pt x="305435" y="469900"/>
                  </a:lnTo>
                  <a:lnTo>
                    <a:pt x="305942" y="482600"/>
                  </a:lnTo>
                  <a:lnTo>
                    <a:pt x="314578" y="469900"/>
                  </a:lnTo>
                  <a:close/>
                </a:path>
                <a:path w="1489075" h="1358900">
                  <a:moveTo>
                    <a:pt x="315849" y="457200"/>
                  </a:moveTo>
                  <a:lnTo>
                    <a:pt x="289051" y="457200"/>
                  </a:lnTo>
                  <a:lnTo>
                    <a:pt x="292226" y="469900"/>
                  </a:lnTo>
                  <a:lnTo>
                    <a:pt x="317880" y="469900"/>
                  </a:lnTo>
                  <a:lnTo>
                    <a:pt x="315849" y="457200"/>
                  </a:lnTo>
                  <a:close/>
                </a:path>
                <a:path w="1489075" h="1358900">
                  <a:moveTo>
                    <a:pt x="1005839" y="457200"/>
                  </a:moveTo>
                  <a:lnTo>
                    <a:pt x="996950" y="457200"/>
                  </a:lnTo>
                  <a:lnTo>
                    <a:pt x="995552" y="469900"/>
                  </a:lnTo>
                  <a:lnTo>
                    <a:pt x="1001013" y="469900"/>
                  </a:lnTo>
                  <a:lnTo>
                    <a:pt x="1005839" y="457200"/>
                  </a:lnTo>
                  <a:close/>
                </a:path>
                <a:path w="1489075" h="1358900">
                  <a:moveTo>
                    <a:pt x="1033287" y="444500"/>
                  </a:moveTo>
                  <a:lnTo>
                    <a:pt x="1011681" y="444500"/>
                  </a:lnTo>
                  <a:lnTo>
                    <a:pt x="1004315" y="457200"/>
                  </a:lnTo>
                  <a:lnTo>
                    <a:pt x="1022145" y="457200"/>
                  </a:lnTo>
                  <a:lnTo>
                    <a:pt x="1033287" y="444500"/>
                  </a:lnTo>
                  <a:close/>
                </a:path>
                <a:path w="1489075" h="1358900">
                  <a:moveTo>
                    <a:pt x="1112424" y="431800"/>
                  </a:moveTo>
                  <a:lnTo>
                    <a:pt x="1041431" y="431800"/>
                  </a:lnTo>
                  <a:lnTo>
                    <a:pt x="1030235" y="444500"/>
                  </a:lnTo>
                  <a:lnTo>
                    <a:pt x="1120266" y="444500"/>
                  </a:lnTo>
                  <a:lnTo>
                    <a:pt x="1120624" y="443070"/>
                  </a:lnTo>
                  <a:lnTo>
                    <a:pt x="1112424" y="431800"/>
                  </a:lnTo>
                  <a:close/>
                </a:path>
                <a:path w="1489075" h="1358900">
                  <a:moveTo>
                    <a:pt x="880871" y="406400"/>
                  </a:moveTo>
                  <a:lnTo>
                    <a:pt x="850391" y="406400"/>
                  </a:lnTo>
                  <a:lnTo>
                    <a:pt x="856614" y="419100"/>
                  </a:lnTo>
                  <a:lnTo>
                    <a:pt x="879348" y="419100"/>
                  </a:lnTo>
                  <a:lnTo>
                    <a:pt x="880871" y="406400"/>
                  </a:lnTo>
                  <a:close/>
                </a:path>
                <a:path w="1489075" h="1358900">
                  <a:moveTo>
                    <a:pt x="882014" y="393700"/>
                  </a:moveTo>
                  <a:lnTo>
                    <a:pt x="839569" y="393700"/>
                  </a:lnTo>
                  <a:lnTo>
                    <a:pt x="842486" y="406400"/>
                  </a:lnTo>
                  <a:lnTo>
                    <a:pt x="886713" y="406400"/>
                  </a:lnTo>
                  <a:lnTo>
                    <a:pt x="882014" y="393700"/>
                  </a:lnTo>
                  <a:close/>
                </a:path>
                <a:path w="1489075" h="1358900">
                  <a:moveTo>
                    <a:pt x="877824" y="368300"/>
                  </a:moveTo>
                  <a:lnTo>
                    <a:pt x="830072" y="368300"/>
                  </a:lnTo>
                  <a:lnTo>
                    <a:pt x="833874" y="381000"/>
                  </a:lnTo>
                  <a:lnTo>
                    <a:pt x="837438" y="393700"/>
                  </a:lnTo>
                  <a:lnTo>
                    <a:pt x="876426" y="393700"/>
                  </a:lnTo>
                  <a:lnTo>
                    <a:pt x="874140" y="381000"/>
                  </a:lnTo>
                  <a:lnTo>
                    <a:pt x="874649" y="381000"/>
                  </a:lnTo>
                  <a:lnTo>
                    <a:pt x="877824" y="368300"/>
                  </a:lnTo>
                  <a:close/>
                </a:path>
                <a:path w="1489075" h="1358900">
                  <a:moveTo>
                    <a:pt x="797601" y="355600"/>
                  </a:moveTo>
                  <a:lnTo>
                    <a:pt x="789414" y="355600"/>
                  </a:lnTo>
                  <a:lnTo>
                    <a:pt x="793750" y="368300"/>
                  </a:lnTo>
                  <a:lnTo>
                    <a:pt x="797601" y="355600"/>
                  </a:lnTo>
                  <a:close/>
                </a:path>
                <a:path w="1489075" h="1358900">
                  <a:moveTo>
                    <a:pt x="893317" y="355600"/>
                  </a:moveTo>
                  <a:lnTo>
                    <a:pt x="811734" y="355600"/>
                  </a:lnTo>
                  <a:lnTo>
                    <a:pt x="821943" y="368300"/>
                  </a:lnTo>
                  <a:lnTo>
                    <a:pt x="885063" y="368300"/>
                  </a:lnTo>
                  <a:lnTo>
                    <a:pt x="893317" y="355600"/>
                  </a:lnTo>
                  <a:close/>
                </a:path>
                <a:path w="1489075" h="1358900">
                  <a:moveTo>
                    <a:pt x="908812" y="342900"/>
                  </a:moveTo>
                  <a:lnTo>
                    <a:pt x="769550" y="342900"/>
                  </a:lnTo>
                  <a:lnTo>
                    <a:pt x="781351" y="355600"/>
                  </a:lnTo>
                  <a:lnTo>
                    <a:pt x="906779" y="355600"/>
                  </a:lnTo>
                  <a:lnTo>
                    <a:pt x="908812" y="342900"/>
                  </a:lnTo>
                  <a:close/>
                </a:path>
                <a:path w="1489075" h="1358900">
                  <a:moveTo>
                    <a:pt x="889762" y="317500"/>
                  </a:moveTo>
                  <a:lnTo>
                    <a:pt x="697611" y="317500"/>
                  </a:lnTo>
                  <a:lnTo>
                    <a:pt x="701293" y="330200"/>
                  </a:lnTo>
                  <a:lnTo>
                    <a:pt x="697611" y="342900"/>
                  </a:lnTo>
                  <a:lnTo>
                    <a:pt x="713243" y="330200"/>
                  </a:lnTo>
                  <a:lnTo>
                    <a:pt x="899032" y="330200"/>
                  </a:lnTo>
                  <a:lnTo>
                    <a:pt x="889762" y="317500"/>
                  </a:lnTo>
                  <a:close/>
                </a:path>
                <a:path w="1489075" h="1358900">
                  <a:moveTo>
                    <a:pt x="907923" y="330200"/>
                  </a:moveTo>
                  <a:lnTo>
                    <a:pt x="727805" y="330200"/>
                  </a:lnTo>
                  <a:lnTo>
                    <a:pt x="741366" y="342900"/>
                  </a:lnTo>
                  <a:lnTo>
                    <a:pt x="911098" y="342900"/>
                  </a:lnTo>
                  <a:lnTo>
                    <a:pt x="907923" y="330200"/>
                  </a:lnTo>
                  <a:close/>
                </a:path>
                <a:path w="1489075" h="1358900">
                  <a:moveTo>
                    <a:pt x="686942" y="304800"/>
                  </a:moveTo>
                  <a:lnTo>
                    <a:pt x="681227" y="304800"/>
                  </a:lnTo>
                  <a:lnTo>
                    <a:pt x="679068" y="317500"/>
                  </a:lnTo>
                  <a:lnTo>
                    <a:pt x="686942" y="304800"/>
                  </a:lnTo>
                  <a:close/>
                </a:path>
                <a:path w="1489075" h="1358900">
                  <a:moveTo>
                    <a:pt x="885316" y="304800"/>
                  </a:moveTo>
                  <a:lnTo>
                    <a:pt x="686942" y="304800"/>
                  </a:lnTo>
                  <a:lnTo>
                    <a:pt x="693165" y="317500"/>
                  </a:lnTo>
                  <a:lnTo>
                    <a:pt x="885316" y="317500"/>
                  </a:lnTo>
                  <a:lnTo>
                    <a:pt x="885316" y="304800"/>
                  </a:lnTo>
                  <a:close/>
                </a:path>
                <a:path w="1489075" h="1358900">
                  <a:moveTo>
                    <a:pt x="1039240" y="304800"/>
                  </a:moveTo>
                  <a:lnTo>
                    <a:pt x="1001902" y="304800"/>
                  </a:lnTo>
                  <a:lnTo>
                    <a:pt x="1008506" y="317500"/>
                  </a:lnTo>
                  <a:lnTo>
                    <a:pt x="1037208" y="317500"/>
                  </a:lnTo>
                  <a:lnTo>
                    <a:pt x="1039240" y="304800"/>
                  </a:lnTo>
                  <a:close/>
                </a:path>
                <a:path w="1489075" h="1358900">
                  <a:moveTo>
                    <a:pt x="1047368" y="304800"/>
                  </a:moveTo>
                  <a:lnTo>
                    <a:pt x="1041526" y="304800"/>
                  </a:lnTo>
                  <a:lnTo>
                    <a:pt x="1043177" y="317500"/>
                  </a:lnTo>
                  <a:lnTo>
                    <a:pt x="1045844" y="317500"/>
                  </a:lnTo>
                  <a:lnTo>
                    <a:pt x="1047368" y="304800"/>
                  </a:lnTo>
                  <a:close/>
                </a:path>
                <a:path w="1489075" h="1358900">
                  <a:moveTo>
                    <a:pt x="895603" y="292100"/>
                  </a:moveTo>
                  <a:lnTo>
                    <a:pt x="682878" y="292100"/>
                  </a:lnTo>
                  <a:lnTo>
                    <a:pt x="682498" y="304800"/>
                  </a:lnTo>
                  <a:lnTo>
                    <a:pt x="891793" y="304800"/>
                  </a:lnTo>
                  <a:lnTo>
                    <a:pt x="895603" y="292100"/>
                  </a:lnTo>
                  <a:close/>
                </a:path>
                <a:path w="1489075" h="1358900">
                  <a:moveTo>
                    <a:pt x="1059179" y="292100"/>
                  </a:moveTo>
                  <a:lnTo>
                    <a:pt x="999108" y="292100"/>
                  </a:lnTo>
                  <a:lnTo>
                    <a:pt x="1000251" y="304800"/>
                  </a:lnTo>
                  <a:lnTo>
                    <a:pt x="1056893" y="304800"/>
                  </a:lnTo>
                  <a:lnTo>
                    <a:pt x="1059179" y="292100"/>
                  </a:lnTo>
                  <a:close/>
                </a:path>
                <a:path w="1489075" h="1358900">
                  <a:moveTo>
                    <a:pt x="895603" y="279400"/>
                  </a:moveTo>
                  <a:lnTo>
                    <a:pt x="684021" y="279400"/>
                  </a:lnTo>
                  <a:lnTo>
                    <a:pt x="684021" y="292100"/>
                  </a:lnTo>
                  <a:lnTo>
                    <a:pt x="897001" y="292100"/>
                  </a:lnTo>
                  <a:lnTo>
                    <a:pt x="895603" y="279400"/>
                  </a:lnTo>
                  <a:close/>
                </a:path>
                <a:path w="1489075" h="1358900">
                  <a:moveTo>
                    <a:pt x="890142" y="266700"/>
                  </a:moveTo>
                  <a:lnTo>
                    <a:pt x="689990" y="266700"/>
                  </a:lnTo>
                  <a:lnTo>
                    <a:pt x="686053" y="279400"/>
                  </a:lnTo>
                  <a:lnTo>
                    <a:pt x="891286" y="279400"/>
                  </a:lnTo>
                  <a:lnTo>
                    <a:pt x="890142" y="266700"/>
                  </a:lnTo>
                  <a:close/>
                </a:path>
                <a:path w="1489075" h="1358900">
                  <a:moveTo>
                    <a:pt x="893952" y="254000"/>
                  </a:moveTo>
                  <a:lnTo>
                    <a:pt x="702182" y="254000"/>
                  </a:lnTo>
                  <a:lnTo>
                    <a:pt x="698500" y="266700"/>
                  </a:lnTo>
                  <a:lnTo>
                    <a:pt x="890524" y="266700"/>
                  </a:lnTo>
                  <a:lnTo>
                    <a:pt x="893952" y="254000"/>
                  </a:lnTo>
                  <a:close/>
                </a:path>
                <a:path w="1489075" h="1358900">
                  <a:moveTo>
                    <a:pt x="508380" y="190500"/>
                  </a:moveTo>
                  <a:lnTo>
                    <a:pt x="497331" y="190500"/>
                  </a:lnTo>
                  <a:lnTo>
                    <a:pt x="502412" y="203200"/>
                  </a:lnTo>
                  <a:lnTo>
                    <a:pt x="509904" y="203200"/>
                  </a:lnTo>
                  <a:lnTo>
                    <a:pt x="508380" y="190500"/>
                  </a:lnTo>
                  <a:close/>
                </a:path>
                <a:path w="1489075" h="1358900">
                  <a:moveTo>
                    <a:pt x="661035" y="177800"/>
                  </a:moveTo>
                  <a:lnTo>
                    <a:pt x="649604" y="177800"/>
                  </a:lnTo>
                  <a:lnTo>
                    <a:pt x="654938" y="203200"/>
                  </a:lnTo>
                  <a:lnTo>
                    <a:pt x="665226" y="203200"/>
                  </a:lnTo>
                  <a:lnTo>
                    <a:pt x="663193" y="190500"/>
                  </a:lnTo>
                  <a:lnTo>
                    <a:pt x="661035" y="190500"/>
                  </a:lnTo>
                  <a:lnTo>
                    <a:pt x="661035" y="177800"/>
                  </a:lnTo>
                  <a:close/>
                </a:path>
                <a:path w="1489075" h="1358900">
                  <a:moveTo>
                    <a:pt x="803401" y="190500"/>
                  </a:moveTo>
                  <a:lnTo>
                    <a:pt x="787780" y="190500"/>
                  </a:lnTo>
                  <a:lnTo>
                    <a:pt x="781812" y="203200"/>
                  </a:lnTo>
                  <a:lnTo>
                    <a:pt x="809370" y="203200"/>
                  </a:lnTo>
                  <a:lnTo>
                    <a:pt x="803401" y="190500"/>
                  </a:lnTo>
                  <a:close/>
                </a:path>
                <a:path w="1489075" h="1358900">
                  <a:moveTo>
                    <a:pt x="505332" y="177800"/>
                  </a:moveTo>
                  <a:lnTo>
                    <a:pt x="483362" y="177800"/>
                  </a:lnTo>
                  <a:lnTo>
                    <a:pt x="487679" y="190500"/>
                  </a:lnTo>
                  <a:lnTo>
                    <a:pt x="503808" y="190500"/>
                  </a:lnTo>
                  <a:lnTo>
                    <a:pt x="505332" y="177800"/>
                  </a:lnTo>
                  <a:close/>
                </a:path>
                <a:path w="1489075" h="1358900">
                  <a:moveTo>
                    <a:pt x="787653" y="177800"/>
                  </a:moveTo>
                  <a:lnTo>
                    <a:pt x="759205" y="177800"/>
                  </a:lnTo>
                  <a:lnTo>
                    <a:pt x="760983" y="190500"/>
                  </a:lnTo>
                  <a:lnTo>
                    <a:pt x="782319" y="190500"/>
                  </a:lnTo>
                  <a:lnTo>
                    <a:pt x="787653" y="177800"/>
                  </a:lnTo>
                  <a:close/>
                </a:path>
                <a:path w="1489075" h="1358900">
                  <a:moveTo>
                    <a:pt x="546496" y="165100"/>
                  </a:moveTo>
                  <a:lnTo>
                    <a:pt x="479425" y="165100"/>
                  </a:lnTo>
                  <a:lnTo>
                    <a:pt x="474090" y="177800"/>
                  </a:lnTo>
                  <a:lnTo>
                    <a:pt x="550872" y="177800"/>
                  </a:lnTo>
                  <a:lnTo>
                    <a:pt x="546496" y="165100"/>
                  </a:lnTo>
                  <a:close/>
                </a:path>
                <a:path w="1489075" h="1358900">
                  <a:moveTo>
                    <a:pt x="680846" y="152400"/>
                  </a:moveTo>
                  <a:lnTo>
                    <a:pt x="563244" y="152400"/>
                  </a:lnTo>
                  <a:lnTo>
                    <a:pt x="560451" y="165100"/>
                  </a:lnTo>
                  <a:lnTo>
                    <a:pt x="563244" y="177800"/>
                  </a:lnTo>
                  <a:lnTo>
                    <a:pt x="684783" y="177800"/>
                  </a:lnTo>
                  <a:lnTo>
                    <a:pt x="687324" y="165100"/>
                  </a:lnTo>
                  <a:lnTo>
                    <a:pt x="689863" y="165100"/>
                  </a:lnTo>
                  <a:lnTo>
                    <a:pt x="680846" y="152400"/>
                  </a:lnTo>
                  <a:close/>
                </a:path>
                <a:path w="1489075" h="1358900">
                  <a:moveTo>
                    <a:pt x="736853" y="165100"/>
                  </a:moveTo>
                  <a:lnTo>
                    <a:pt x="733932" y="165100"/>
                  </a:lnTo>
                  <a:lnTo>
                    <a:pt x="731774" y="177800"/>
                  </a:lnTo>
                  <a:lnTo>
                    <a:pt x="736853" y="165100"/>
                  </a:lnTo>
                  <a:close/>
                </a:path>
                <a:path w="1489075" h="1358900">
                  <a:moveTo>
                    <a:pt x="798576" y="165100"/>
                  </a:moveTo>
                  <a:lnTo>
                    <a:pt x="753363" y="165100"/>
                  </a:lnTo>
                  <a:lnTo>
                    <a:pt x="756412" y="177800"/>
                  </a:lnTo>
                  <a:lnTo>
                    <a:pt x="792988" y="177800"/>
                  </a:lnTo>
                  <a:lnTo>
                    <a:pt x="798576" y="165100"/>
                  </a:lnTo>
                  <a:close/>
                </a:path>
                <a:path w="1489075" h="1358900">
                  <a:moveTo>
                    <a:pt x="534924" y="152400"/>
                  </a:moveTo>
                  <a:lnTo>
                    <a:pt x="515953" y="152400"/>
                  </a:lnTo>
                  <a:lnTo>
                    <a:pt x="504219" y="165100"/>
                  </a:lnTo>
                  <a:lnTo>
                    <a:pt x="541192" y="165100"/>
                  </a:lnTo>
                  <a:lnTo>
                    <a:pt x="534924" y="152400"/>
                  </a:lnTo>
                  <a:close/>
                </a:path>
                <a:path w="1489075" h="1358900">
                  <a:moveTo>
                    <a:pt x="800100" y="152400"/>
                  </a:moveTo>
                  <a:lnTo>
                    <a:pt x="712342" y="152400"/>
                  </a:lnTo>
                  <a:lnTo>
                    <a:pt x="721232" y="165100"/>
                  </a:lnTo>
                  <a:lnTo>
                    <a:pt x="795146" y="165100"/>
                  </a:lnTo>
                  <a:lnTo>
                    <a:pt x="800100" y="152400"/>
                  </a:lnTo>
                  <a:close/>
                </a:path>
                <a:path w="1489075" h="1358900">
                  <a:moveTo>
                    <a:pt x="647573" y="139700"/>
                  </a:moveTo>
                  <a:lnTo>
                    <a:pt x="551814" y="139700"/>
                  </a:lnTo>
                  <a:lnTo>
                    <a:pt x="556260" y="152400"/>
                  </a:lnTo>
                  <a:lnTo>
                    <a:pt x="651128" y="152400"/>
                  </a:lnTo>
                  <a:lnTo>
                    <a:pt x="647573" y="139700"/>
                  </a:lnTo>
                  <a:close/>
                </a:path>
                <a:path w="1489075" h="1358900">
                  <a:moveTo>
                    <a:pt x="843700" y="0"/>
                  </a:moveTo>
                  <a:lnTo>
                    <a:pt x="645140" y="0"/>
                  </a:lnTo>
                  <a:lnTo>
                    <a:pt x="596924" y="12700"/>
                  </a:lnTo>
                  <a:lnTo>
                    <a:pt x="891867" y="12700"/>
                  </a:lnTo>
                  <a:lnTo>
                    <a:pt x="843700" y="0"/>
                  </a:lnTo>
                  <a:close/>
                </a:path>
              </a:pathLst>
            </a:custGeom>
            <a:solidFill>
              <a:srgbClr val="F16234"/>
            </a:solidFill>
          </p:spPr>
          <p:txBody>
            <a:bodyPr wrap="square" lIns="0" tIns="0" rIns="0" bIns="0" rtlCol="0"/>
            <a:lstStyle/>
            <a:p>
              <a:endParaRPr sz="2400" dirty="0"/>
            </a:p>
          </p:txBody>
        </p:sp>
        <p:pic>
          <p:nvPicPr>
            <p:cNvPr id="9" name="object 9"/>
            <p:cNvPicPr/>
            <p:nvPr/>
          </p:nvPicPr>
          <p:blipFill>
            <a:blip r:embed="rId5" cstate="print"/>
            <a:stretch>
              <a:fillRect/>
            </a:stretch>
          </p:blipFill>
          <p:spPr>
            <a:xfrm>
              <a:off x="2790444" y="1725142"/>
              <a:ext cx="1049134" cy="1006627"/>
            </a:xfrm>
            <a:prstGeom prst="rect">
              <a:avLst/>
            </a:prstGeom>
          </p:spPr>
        </p:pic>
        <p:sp>
          <p:nvSpPr>
            <p:cNvPr id="10" name="object 10"/>
            <p:cNvSpPr/>
            <p:nvPr/>
          </p:nvSpPr>
          <p:spPr>
            <a:xfrm>
              <a:off x="2919984" y="1981199"/>
              <a:ext cx="553720" cy="510540"/>
            </a:xfrm>
            <a:custGeom>
              <a:avLst/>
              <a:gdLst/>
              <a:ahLst/>
              <a:cxnLst/>
              <a:rect l="l" t="t" r="r" b="b"/>
              <a:pathLst>
                <a:path w="553720" h="510539">
                  <a:moveTo>
                    <a:pt x="276606" y="0"/>
                  </a:moveTo>
                  <a:lnTo>
                    <a:pt x="226881" y="4113"/>
                  </a:lnTo>
                  <a:lnTo>
                    <a:pt x="180082" y="15971"/>
                  </a:lnTo>
                  <a:lnTo>
                    <a:pt x="136990" y="34854"/>
                  </a:lnTo>
                  <a:lnTo>
                    <a:pt x="98385" y="60040"/>
                  </a:lnTo>
                  <a:lnTo>
                    <a:pt x="65049" y="90807"/>
                  </a:lnTo>
                  <a:lnTo>
                    <a:pt x="37761" y="126435"/>
                  </a:lnTo>
                  <a:lnTo>
                    <a:pt x="17303" y="166202"/>
                  </a:lnTo>
                  <a:lnTo>
                    <a:pt x="4455" y="209387"/>
                  </a:lnTo>
                  <a:lnTo>
                    <a:pt x="0" y="255269"/>
                  </a:lnTo>
                  <a:lnTo>
                    <a:pt x="4455" y="301152"/>
                  </a:lnTo>
                  <a:lnTo>
                    <a:pt x="17303" y="344337"/>
                  </a:lnTo>
                  <a:lnTo>
                    <a:pt x="37761" y="384104"/>
                  </a:lnTo>
                  <a:lnTo>
                    <a:pt x="65049" y="419732"/>
                  </a:lnTo>
                  <a:lnTo>
                    <a:pt x="98385" y="450499"/>
                  </a:lnTo>
                  <a:lnTo>
                    <a:pt x="136990" y="475685"/>
                  </a:lnTo>
                  <a:lnTo>
                    <a:pt x="180082" y="494568"/>
                  </a:lnTo>
                  <a:lnTo>
                    <a:pt x="226881" y="506426"/>
                  </a:lnTo>
                  <a:lnTo>
                    <a:pt x="276606" y="510539"/>
                  </a:lnTo>
                  <a:lnTo>
                    <a:pt x="326330" y="506426"/>
                  </a:lnTo>
                  <a:lnTo>
                    <a:pt x="373129" y="494568"/>
                  </a:lnTo>
                  <a:lnTo>
                    <a:pt x="416221" y="475685"/>
                  </a:lnTo>
                  <a:lnTo>
                    <a:pt x="454826" y="450499"/>
                  </a:lnTo>
                  <a:lnTo>
                    <a:pt x="488162" y="419732"/>
                  </a:lnTo>
                  <a:lnTo>
                    <a:pt x="515450" y="384104"/>
                  </a:lnTo>
                  <a:lnTo>
                    <a:pt x="535908" y="344337"/>
                  </a:lnTo>
                  <a:lnTo>
                    <a:pt x="548756" y="301152"/>
                  </a:lnTo>
                  <a:lnTo>
                    <a:pt x="553212" y="255269"/>
                  </a:lnTo>
                  <a:lnTo>
                    <a:pt x="548756" y="209387"/>
                  </a:lnTo>
                  <a:lnTo>
                    <a:pt x="535908" y="166202"/>
                  </a:lnTo>
                  <a:lnTo>
                    <a:pt x="515450" y="126435"/>
                  </a:lnTo>
                  <a:lnTo>
                    <a:pt x="488162" y="90807"/>
                  </a:lnTo>
                  <a:lnTo>
                    <a:pt x="454826" y="60040"/>
                  </a:lnTo>
                  <a:lnTo>
                    <a:pt x="416221" y="34854"/>
                  </a:lnTo>
                  <a:lnTo>
                    <a:pt x="373129" y="15971"/>
                  </a:lnTo>
                  <a:lnTo>
                    <a:pt x="326330" y="4113"/>
                  </a:lnTo>
                  <a:lnTo>
                    <a:pt x="276606" y="0"/>
                  </a:lnTo>
                  <a:close/>
                </a:path>
              </a:pathLst>
            </a:custGeom>
            <a:solidFill>
              <a:srgbClr val="FFFFFF"/>
            </a:solidFill>
          </p:spPr>
          <p:txBody>
            <a:bodyPr wrap="square" lIns="0" tIns="0" rIns="0" bIns="0" rtlCol="0"/>
            <a:lstStyle/>
            <a:p>
              <a:endParaRPr sz="2400"/>
            </a:p>
          </p:txBody>
        </p:sp>
        <p:sp>
          <p:nvSpPr>
            <p:cNvPr id="11" name="object 11"/>
            <p:cNvSpPr/>
            <p:nvPr/>
          </p:nvSpPr>
          <p:spPr>
            <a:xfrm>
              <a:off x="2993136" y="2048255"/>
              <a:ext cx="407034" cy="375285"/>
            </a:xfrm>
            <a:custGeom>
              <a:avLst/>
              <a:gdLst/>
              <a:ahLst/>
              <a:cxnLst/>
              <a:rect l="l" t="t" r="r" b="b"/>
              <a:pathLst>
                <a:path w="407035" h="375285">
                  <a:moveTo>
                    <a:pt x="203453" y="0"/>
                  </a:moveTo>
                  <a:lnTo>
                    <a:pt x="156794" y="4951"/>
                  </a:lnTo>
                  <a:lnTo>
                    <a:pt x="113966" y="19056"/>
                  </a:lnTo>
                  <a:lnTo>
                    <a:pt x="76191" y="41187"/>
                  </a:lnTo>
                  <a:lnTo>
                    <a:pt x="44686" y="70219"/>
                  </a:lnTo>
                  <a:lnTo>
                    <a:pt x="20673" y="105024"/>
                  </a:lnTo>
                  <a:lnTo>
                    <a:pt x="5371" y="144477"/>
                  </a:lnTo>
                  <a:lnTo>
                    <a:pt x="0" y="187451"/>
                  </a:lnTo>
                  <a:lnTo>
                    <a:pt x="5371" y="230426"/>
                  </a:lnTo>
                  <a:lnTo>
                    <a:pt x="20673" y="269879"/>
                  </a:lnTo>
                  <a:lnTo>
                    <a:pt x="44686" y="304684"/>
                  </a:lnTo>
                  <a:lnTo>
                    <a:pt x="76191" y="333716"/>
                  </a:lnTo>
                  <a:lnTo>
                    <a:pt x="113966" y="355847"/>
                  </a:lnTo>
                  <a:lnTo>
                    <a:pt x="156794" y="369952"/>
                  </a:lnTo>
                  <a:lnTo>
                    <a:pt x="203453" y="374904"/>
                  </a:lnTo>
                  <a:lnTo>
                    <a:pt x="250113" y="369952"/>
                  </a:lnTo>
                  <a:lnTo>
                    <a:pt x="292941" y="355847"/>
                  </a:lnTo>
                  <a:lnTo>
                    <a:pt x="330716" y="333716"/>
                  </a:lnTo>
                  <a:lnTo>
                    <a:pt x="362221" y="304684"/>
                  </a:lnTo>
                  <a:lnTo>
                    <a:pt x="386234" y="269879"/>
                  </a:lnTo>
                  <a:lnTo>
                    <a:pt x="401536" y="230426"/>
                  </a:lnTo>
                  <a:lnTo>
                    <a:pt x="406908" y="187451"/>
                  </a:lnTo>
                  <a:lnTo>
                    <a:pt x="401536" y="144477"/>
                  </a:lnTo>
                  <a:lnTo>
                    <a:pt x="386234" y="105024"/>
                  </a:lnTo>
                  <a:lnTo>
                    <a:pt x="362221" y="70219"/>
                  </a:lnTo>
                  <a:lnTo>
                    <a:pt x="330716" y="41187"/>
                  </a:lnTo>
                  <a:lnTo>
                    <a:pt x="292941" y="19056"/>
                  </a:lnTo>
                  <a:lnTo>
                    <a:pt x="250113" y="4951"/>
                  </a:lnTo>
                  <a:lnTo>
                    <a:pt x="203453" y="0"/>
                  </a:lnTo>
                  <a:close/>
                </a:path>
              </a:pathLst>
            </a:custGeom>
            <a:solidFill>
              <a:srgbClr val="F16234"/>
            </a:solidFill>
          </p:spPr>
          <p:txBody>
            <a:bodyPr wrap="square" lIns="0" tIns="0" rIns="0" bIns="0" rtlCol="0"/>
            <a:lstStyle/>
            <a:p>
              <a:endParaRPr sz="2400"/>
            </a:p>
          </p:txBody>
        </p:sp>
        <p:pic>
          <p:nvPicPr>
            <p:cNvPr id="12" name="object 12"/>
            <p:cNvPicPr/>
            <p:nvPr/>
          </p:nvPicPr>
          <p:blipFill>
            <a:blip r:embed="rId6" cstate="print"/>
            <a:stretch>
              <a:fillRect/>
            </a:stretch>
          </p:blipFill>
          <p:spPr>
            <a:xfrm>
              <a:off x="3125851" y="2187066"/>
              <a:ext cx="141732" cy="97535"/>
            </a:xfrm>
            <a:prstGeom prst="rect">
              <a:avLst/>
            </a:prstGeom>
          </p:spPr>
        </p:pic>
        <p:pic>
          <p:nvPicPr>
            <p:cNvPr id="13" name="object 13"/>
            <p:cNvPicPr/>
            <p:nvPr/>
          </p:nvPicPr>
          <p:blipFill>
            <a:blip r:embed="rId7" cstate="print"/>
            <a:stretch>
              <a:fillRect/>
            </a:stretch>
          </p:blipFill>
          <p:spPr>
            <a:xfrm>
              <a:off x="2790444" y="3226307"/>
              <a:ext cx="1049134" cy="1008125"/>
            </a:xfrm>
            <a:prstGeom prst="rect">
              <a:avLst/>
            </a:prstGeom>
          </p:spPr>
        </p:pic>
        <p:sp>
          <p:nvSpPr>
            <p:cNvPr id="14" name="object 14"/>
            <p:cNvSpPr/>
            <p:nvPr/>
          </p:nvSpPr>
          <p:spPr>
            <a:xfrm>
              <a:off x="2919984" y="3482339"/>
              <a:ext cx="553720" cy="512445"/>
            </a:xfrm>
            <a:custGeom>
              <a:avLst/>
              <a:gdLst/>
              <a:ahLst/>
              <a:cxnLst/>
              <a:rect l="l" t="t" r="r" b="b"/>
              <a:pathLst>
                <a:path w="553720" h="512445">
                  <a:moveTo>
                    <a:pt x="276606" y="0"/>
                  </a:moveTo>
                  <a:lnTo>
                    <a:pt x="226881" y="4126"/>
                  </a:lnTo>
                  <a:lnTo>
                    <a:pt x="180082" y="16023"/>
                  </a:lnTo>
                  <a:lnTo>
                    <a:pt x="136990" y="34967"/>
                  </a:lnTo>
                  <a:lnTo>
                    <a:pt x="98385" y="60232"/>
                  </a:lnTo>
                  <a:lnTo>
                    <a:pt x="65049" y="91095"/>
                  </a:lnTo>
                  <a:lnTo>
                    <a:pt x="37761" y="126830"/>
                  </a:lnTo>
                  <a:lnTo>
                    <a:pt x="17303" y="166714"/>
                  </a:lnTo>
                  <a:lnTo>
                    <a:pt x="4455" y="210023"/>
                  </a:lnTo>
                  <a:lnTo>
                    <a:pt x="0" y="256032"/>
                  </a:lnTo>
                  <a:lnTo>
                    <a:pt x="4455" y="302053"/>
                  </a:lnTo>
                  <a:lnTo>
                    <a:pt x="17303" y="345369"/>
                  </a:lnTo>
                  <a:lnTo>
                    <a:pt x="37761" y="385255"/>
                  </a:lnTo>
                  <a:lnTo>
                    <a:pt x="65049" y="420989"/>
                  </a:lnTo>
                  <a:lnTo>
                    <a:pt x="98385" y="451848"/>
                  </a:lnTo>
                  <a:lnTo>
                    <a:pt x="136990" y="477107"/>
                  </a:lnTo>
                  <a:lnTo>
                    <a:pt x="180082" y="496045"/>
                  </a:lnTo>
                  <a:lnTo>
                    <a:pt x="226881" y="507938"/>
                  </a:lnTo>
                  <a:lnTo>
                    <a:pt x="276606" y="512064"/>
                  </a:lnTo>
                  <a:lnTo>
                    <a:pt x="326330" y="507938"/>
                  </a:lnTo>
                  <a:lnTo>
                    <a:pt x="373129" y="496045"/>
                  </a:lnTo>
                  <a:lnTo>
                    <a:pt x="416221" y="477107"/>
                  </a:lnTo>
                  <a:lnTo>
                    <a:pt x="454826" y="451848"/>
                  </a:lnTo>
                  <a:lnTo>
                    <a:pt x="488162" y="420989"/>
                  </a:lnTo>
                  <a:lnTo>
                    <a:pt x="515450" y="385255"/>
                  </a:lnTo>
                  <a:lnTo>
                    <a:pt x="535908" y="345369"/>
                  </a:lnTo>
                  <a:lnTo>
                    <a:pt x="548756" y="302053"/>
                  </a:lnTo>
                  <a:lnTo>
                    <a:pt x="553212" y="256032"/>
                  </a:lnTo>
                  <a:lnTo>
                    <a:pt x="548756" y="210023"/>
                  </a:lnTo>
                  <a:lnTo>
                    <a:pt x="535908" y="166714"/>
                  </a:lnTo>
                  <a:lnTo>
                    <a:pt x="515450" y="126830"/>
                  </a:lnTo>
                  <a:lnTo>
                    <a:pt x="488162" y="91095"/>
                  </a:lnTo>
                  <a:lnTo>
                    <a:pt x="454826" y="60232"/>
                  </a:lnTo>
                  <a:lnTo>
                    <a:pt x="416221" y="34967"/>
                  </a:lnTo>
                  <a:lnTo>
                    <a:pt x="373129" y="16023"/>
                  </a:lnTo>
                  <a:lnTo>
                    <a:pt x="326330" y="4126"/>
                  </a:lnTo>
                  <a:lnTo>
                    <a:pt x="276606" y="0"/>
                  </a:lnTo>
                  <a:close/>
                </a:path>
              </a:pathLst>
            </a:custGeom>
            <a:solidFill>
              <a:srgbClr val="FFFFFF"/>
            </a:solidFill>
          </p:spPr>
          <p:txBody>
            <a:bodyPr wrap="square" lIns="0" tIns="0" rIns="0" bIns="0" rtlCol="0"/>
            <a:lstStyle/>
            <a:p>
              <a:endParaRPr sz="2400"/>
            </a:p>
          </p:txBody>
        </p:sp>
        <p:sp>
          <p:nvSpPr>
            <p:cNvPr id="15" name="object 15"/>
            <p:cNvSpPr/>
            <p:nvPr/>
          </p:nvSpPr>
          <p:spPr>
            <a:xfrm>
              <a:off x="2993136" y="3557016"/>
              <a:ext cx="407034" cy="375285"/>
            </a:xfrm>
            <a:custGeom>
              <a:avLst/>
              <a:gdLst/>
              <a:ahLst/>
              <a:cxnLst/>
              <a:rect l="l" t="t" r="r" b="b"/>
              <a:pathLst>
                <a:path w="407035" h="375285">
                  <a:moveTo>
                    <a:pt x="203453" y="0"/>
                  </a:moveTo>
                  <a:lnTo>
                    <a:pt x="156794" y="4951"/>
                  </a:lnTo>
                  <a:lnTo>
                    <a:pt x="113966" y="19056"/>
                  </a:lnTo>
                  <a:lnTo>
                    <a:pt x="76191" y="41187"/>
                  </a:lnTo>
                  <a:lnTo>
                    <a:pt x="44686" y="70219"/>
                  </a:lnTo>
                  <a:lnTo>
                    <a:pt x="20673" y="105024"/>
                  </a:lnTo>
                  <a:lnTo>
                    <a:pt x="5371" y="144477"/>
                  </a:lnTo>
                  <a:lnTo>
                    <a:pt x="0" y="187452"/>
                  </a:lnTo>
                  <a:lnTo>
                    <a:pt x="5371" y="230426"/>
                  </a:lnTo>
                  <a:lnTo>
                    <a:pt x="20673" y="269879"/>
                  </a:lnTo>
                  <a:lnTo>
                    <a:pt x="44686" y="304684"/>
                  </a:lnTo>
                  <a:lnTo>
                    <a:pt x="76191" y="333716"/>
                  </a:lnTo>
                  <a:lnTo>
                    <a:pt x="113966" y="355847"/>
                  </a:lnTo>
                  <a:lnTo>
                    <a:pt x="156794" y="369952"/>
                  </a:lnTo>
                  <a:lnTo>
                    <a:pt x="203453" y="374904"/>
                  </a:lnTo>
                  <a:lnTo>
                    <a:pt x="250113" y="369952"/>
                  </a:lnTo>
                  <a:lnTo>
                    <a:pt x="292941" y="355847"/>
                  </a:lnTo>
                  <a:lnTo>
                    <a:pt x="330716" y="333716"/>
                  </a:lnTo>
                  <a:lnTo>
                    <a:pt x="362221" y="304684"/>
                  </a:lnTo>
                  <a:lnTo>
                    <a:pt x="386234" y="269879"/>
                  </a:lnTo>
                  <a:lnTo>
                    <a:pt x="401536" y="230426"/>
                  </a:lnTo>
                  <a:lnTo>
                    <a:pt x="406908" y="187452"/>
                  </a:lnTo>
                  <a:lnTo>
                    <a:pt x="401536" y="144477"/>
                  </a:lnTo>
                  <a:lnTo>
                    <a:pt x="386234" y="105024"/>
                  </a:lnTo>
                  <a:lnTo>
                    <a:pt x="362221" y="70219"/>
                  </a:lnTo>
                  <a:lnTo>
                    <a:pt x="330716" y="41187"/>
                  </a:lnTo>
                  <a:lnTo>
                    <a:pt x="292941" y="19056"/>
                  </a:lnTo>
                  <a:lnTo>
                    <a:pt x="250113" y="4951"/>
                  </a:lnTo>
                  <a:lnTo>
                    <a:pt x="203453" y="0"/>
                  </a:lnTo>
                  <a:close/>
                </a:path>
              </a:pathLst>
            </a:custGeom>
            <a:solidFill>
              <a:srgbClr val="79C143"/>
            </a:solidFill>
          </p:spPr>
          <p:txBody>
            <a:bodyPr wrap="square" lIns="0" tIns="0" rIns="0" bIns="0" rtlCol="0"/>
            <a:lstStyle/>
            <a:p>
              <a:endParaRPr sz="2400"/>
            </a:p>
          </p:txBody>
        </p:sp>
        <p:pic>
          <p:nvPicPr>
            <p:cNvPr id="16" name="object 16"/>
            <p:cNvPicPr/>
            <p:nvPr/>
          </p:nvPicPr>
          <p:blipFill>
            <a:blip r:embed="rId8" cstate="print"/>
            <a:stretch>
              <a:fillRect/>
            </a:stretch>
          </p:blipFill>
          <p:spPr>
            <a:xfrm>
              <a:off x="3126105" y="3685158"/>
              <a:ext cx="141731" cy="117347"/>
            </a:xfrm>
            <a:prstGeom prst="rect">
              <a:avLst/>
            </a:prstGeom>
          </p:spPr>
        </p:pic>
      </p:grpSp>
      <p:sp>
        <p:nvSpPr>
          <p:cNvPr id="17" name="object 17"/>
          <p:cNvSpPr txBox="1"/>
          <p:nvPr/>
        </p:nvSpPr>
        <p:spPr>
          <a:xfrm>
            <a:off x="1088474" y="2619011"/>
            <a:ext cx="2291927" cy="509541"/>
          </a:xfrm>
          <a:prstGeom prst="rect">
            <a:avLst/>
          </a:prstGeom>
        </p:spPr>
        <p:txBody>
          <a:bodyPr vert="horz" wrap="square" lIns="0" tIns="16933" rIns="0" bIns="0" rtlCol="0">
            <a:spAutoFit/>
          </a:bodyPr>
          <a:lstStyle/>
          <a:p>
            <a:pPr marL="16933">
              <a:spcBef>
                <a:spcPts val="133"/>
              </a:spcBef>
            </a:pPr>
            <a:r>
              <a:rPr sz="1600" b="1" dirty="0">
                <a:solidFill>
                  <a:srgbClr val="001F5F"/>
                </a:solidFill>
                <a:latin typeface="Verdana"/>
                <a:cs typeface="Verdana"/>
              </a:rPr>
              <a:t>Improve</a:t>
            </a:r>
            <a:r>
              <a:rPr sz="1600" b="1" spc="-40" dirty="0">
                <a:solidFill>
                  <a:srgbClr val="001F5F"/>
                </a:solidFill>
                <a:latin typeface="Verdana"/>
                <a:cs typeface="Verdana"/>
              </a:rPr>
              <a:t> </a:t>
            </a:r>
            <a:r>
              <a:rPr sz="1600" b="1" spc="-13" dirty="0">
                <a:solidFill>
                  <a:srgbClr val="001F5F"/>
                </a:solidFill>
                <a:latin typeface="Verdana"/>
                <a:cs typeface="Verdana"/>
              </a:rPr>
              <a:t>customs</a:t>
            </a:r>
            <a:endParaRPr sz="1600">
              <a:latin typeface="Verdana"/>
              <a:cs typeface="Verdana"/>
            </a:endParaRPr>
          </a:p>
          <a:p>
            <a:pPr marL="16933">
              <a:spcBef>
                <a:spcPts val="7"/>
              </a:spcBef>
            </a:pPr>
            <a:r>
              <a:rPr sz="1600" b="1" dirty="0">
                <a:solidFill>
                  <a:srgbClr val="001F5F"/>
                </a:solidFill>
                <a:latin typeface="Verdana"/>
                <a:cs typeface="Verdana"/>
              </a:rPr>
              <a:t>clearance</a:t>
            </a:r>
            <a:r>
              <a:rPr sz="1600" b="1" spc="-73" dirty="0">
                <a:solidFill>
                  <a:srgbClr val="001F5F"/>
                </a:solidFill>
                <a:latin typeface="Verdana"/>
                <a:cs typeface="Verdana"/>
              </a:rPr>
              <a:t> </a:t>
            </a:r>
            <a:r>
              <a:rPr sz="1600" b="1" spc="-13" dirty="0">
                <a:solidFill>
                  <a:srgbClr val="001F5F"/>
                </a:solidFill>
                <a:latin typeface="Verdana"/>
                <a:cs typeface="Verdana"/>
              </a:rPr>
              <a:t>efficiency</a:t>
            </a:r>
            <a:endParaRPr sz="1600">
              <a:latin typeface="Verdana"/>
              <a:cs typeface="Verdana"/>
            </a:endParaRPr>
          </a:p>
        </p:txBody>
      </p:sp>
      <p:sp>
        <p:nvSpPr>
          <p:cNvPr id="18" name="object 18"/>
          <p:cNvSpPr txBox="1"/>
          <p:nvPr/>
        </p:nvSpPr>
        <p:spPr>
          <a:xfrm>
            <a:off x="1061246" y="4926076"/>
            <a:ext cx="2784685" cy="509541"/>
          </a:xfrm>
          <a:prstGeom prst="rect">
            <a:avLst/>
          </a:prstGeom>
        </p:spPr>
        <p:txBody>
          <a:bodyPr vert="horz" wrap="square" lIns="0" tIns="16933" rIns="0" bIns="0" rtlCol="0">
            <a:spAutoFit/>
          </a:bodyPr>
          <a:lstStyle/>
          <a:p>
            <a:pPr marL="16933">
              <a:spcBef>
                <a:spcPts val="133"/>
              </a:spcBef>
            </a:pPr>
            <a:r>
              <a:rPr sz="1600" b="1" dirty="0">
                <a:solidFill>
                  <a:srgbClr val="001F5F"/>
                </a:solidFill>
                <a:latin typeface="Verdana"/>
                <a:cs typeface="Verdana"/>
              </a:rPr>
              <a:t>Enhance</a:t>
            </a:r>
            <a:r>
              <a:rPr sz="1600" b="1" spc="-87" dirty="0">
                <a:solidFill>
                  <a:srgbClr val="001F5F"/>
                </a:solidFill>
                <a:latin typeface="Verdana"/>
                <a:cs typeface="Verdana"/>
              </a:rPr>
              <a:t> </a:t>
            </a:r>
            <a:r>
              <a:rPr sz="1600" b="1" dirty="0">
                <a:solidFill>
                  <a:srgbClr val="001F5F"/>
                </a:solidFill>
                <a:latin typeface="Verdana"/>
                <a:cs typeface="Verdana"/>
              </a:rPr>
              <a:t>awareness</a:t>
            </a:r>
            <a:r>
              <a:rPr sz="1600" b="1" spc="-67" dirty="0">
                <a:solidFill>
                  <a:srgbClr val="001F5F"/>
                </a:solidFill>
                <a:latin typeface="Verdana"/>
                <a:cs typeface="Verdana"/>
              </a:rPr>
              <a:t> </a:t>
            </a:r>
            <a:r>
              <a:rPr sz="1600" b="1" spc="-33" dirty="0">
                <a:solidFill>
                  <a:srgbClr val="001F5F"/>
                </a:solidFill>
                <a:latin typeface="Verdana"/>
                <a:cs typeface="Verdana"/>
              </a:rPr>
              <a:t>and</a:t>
            </a:r>
            <a:endParaRPr sz="1600">
              <a:latin typeface="Verdana"/>
              <a:cs typeface="Verdana"/>
            </a:endParaRPr>
          </a:p>
          <a:p>
            <a:pPr marL="16933"/>
            <a:r>
              <a:rPr sz="1600" b="1" dirty="0">
                <a:solidFill>
                  <a:srgbClr val="001F5F"/>
                </a:solidFill>
                <a:latin typeface="Verdana"/>
                <a:cs typeface="Verdana"/>
              </a:rPr>
              <a:t>product</a:t>
            </a:r>
            <a:r>
              <a:rPr sz="1600" b="1" spc="-40" dirty="0">
                <a:solidFill>
                  <a:srgbClr val="001F5F"/>
                </a:solidFill>
                <a:latin typeface="Verdana"/>
                <a:cs typeface="Verdana"/>
              </a:rPr>
              <a:t> </a:t>
            </a:r>
            <a:r>
              <a:rPr sz="1600" b="1" spc="-13" dirty="0">
                <a:solidFill>
                  <a:srgbClr val="001F5F"/>
                </a:solidFill>
                <a:latin typeface="Verdana"/>
                <a:cs typeface="Verdana"/>
              </a:rPr>
              <a:t>publicity</a:t>
            </a:r>
            <a:endParaRPr sz="1600">
              <a:latin typeface="Verdana"/>
              <a:cs typeface="Verdana"/>
            </a:endParaRPr>
          </a:p>
        </p:txBody>
      </p:sp>
      <p:grpSp>
        <p:nvGrpSpPr>
          <p:cNvPr id="19" name="object 19"/>
          <p:cNvGrpSpPr/>
          <p:nvPr/>
        </p:nvGrpSpPr>
        <p:grpSpPr>
          <a:xfrm>
            <a:off x="7305040" y="2300190"/>
            <a:ext cx="1401233" cy="1342813"/>
            <a:chOff x="5478779" y="1725142"/>
            <a:chExt cx="1050925" cy="1007110"/>
          </a:xfrm>
        </p:grpSpPr>
        <p:pic>
          <p:nvPicPr>
            <p:cNvPr id="20" name="object 20"/>
            <p:cNvPicPr/>
            <p:nvPr/>
          </p:nvPicPr>
          <p:blipFill>
            <a:blip r:embed="rId9" cstate="print"/>
            <a:stretch>
              <a:fillRect/>
            </a:stretch>
          </p:blipFill>
          <p:spPr>
            <a:xfrm>
              <a:off x="5478779" y="1725142"/>
              <a:ext cx="1050632" cy="1006627"/>
            </a:xfrm>
            <a:prstGeom prst="rect">
              <a:avLst/>
            </a:prstGeom>
          </p:spPr>
        </p:pic>
        <p:sp>
          <p:nvSpPr>
            <p:cNvPr id="21" name="object 21"/>
            <p:cNvSpPr/>
            <p:nvPr/>
          </p:nvSpPr>
          <p:spPr>
            <a:xfrm>
              <a:off x="5608319" y="1981199"/>
              <a:ext cx="554990" cy="510540"/>
            </a:xfrm>
            <a:custGeom>
              <a:avLst/>
              <a:gdLst/>
              <a:ahLst/>
              <a:cxnLst/>
              <a:rect l="l" t="t" r="r" b="b"/>
              <a:pathLst>
                <a:path w="554989" h="510539">
                  <a:moveTo>
                    <a:pt x="277367" y="0"/>
                  </a:moveTo>
                  <a:lnTo>
                    <a:pt x="227517" y="4113"/>
                  </a:lnTo>
                  <a:lnTo>
                    <a:pt x="180595" y="15971"/>
                  </a:lnTo>
                  <a:lnTo>
                    <a:pt x="137385" y="34854"/>
                  </a:lnTo>
                  <a:lnTo>
                    <a:pt x="98673" y="60040"/>
                  </a:lnTo>
                  <a:lnTo>
                    <a:pt x="65241" y="90807"/>
                  </a:lnTo>
                  <a:lnTo>
                    <a:pt x="37874" y="126435"/>
                  </a:lnTo>
                  <a:lnTo>
                    <a:pt x="17355" y="166202"/>
                  </a:lnTo>
                  <a:lnTo>
                    <a:pt x="4469" y="209387"/>
                  </a:lnTo>
                  <a:lnTo>
                    <a:pt x="0" y="255269"/>
                  </a:lnTo>
                  <a:lnTo>
                    <a:pt x="4469" y="301152"/>
                  </a:lnTo>
                  <a:lnTo>
                    <a:pt x="17355" y="344337"/>
                  </a:lnTo>
                  <a:lnTo>
                    <a:pt x="37874" y="384104"/>
                  </a:lnTo>
                  <a:lnTo>
                    <a:pt x="65241" y="419732"/>
                  </a:lnTo>
                  <a:lnTo>
                    <a:pt x="98673" y="450499"/>
                  </a:lnTo>
                  <a:lnTo>
                    <a:pt x="137385" y="475685"/>
                  </a:lnTo>
                  <a:lnTo>
                    <a:pt x="180595" y="494568"/>
                  </a:lnTo>
                  <a:lnTo>
                    <a:pt x="227517" y="506426"/>
                  </a:lnTo>
                  <a:lnTo>
                    <a:pt x="277367" y="510539"/>
                  </a:lnTo>
                  <a:lnTo>
                    <a:pt x="327218" y="506426"/>
                  </a:lnTo>
                  <a:lnTo>
                    <a:pt x="374140" y="494568"/>
                  </a:lnTo>
                  <a:lnTo>
                    <a:pt x="417350" y="475685"/>
                  </a:lnTo>
                  <a:lnTo>
                    <a:pt x="456062" y="450499"/>
                  </a:lnTo>
                  <a:lnTo>
                    <a:pt x="489494" y="419732"/>
                  </a:lnTo>
                  <a:lnTo>
                    <a:pt x="516861" y="384104"/>
                  </a:lnTo>
                  <a:lnTo>
                    <a:pt x="537380" y="344337"/>
                  </a:lnTo>
                  <a:lnTo>
                    <a:pt x="550266" y="301152"/>
                  </a:lnTo>
                  <a:lnTo>
                    <a:pt x="554735" y="255269"/>
                  </a:lnTo>
                  <a:lnTo>
                    <a:pt x="550266" y="209387"/>
                  </a:lnTo>
                  <a:lnTo>
                    <a:pt x="537380" y="166202"/>
                  </a:lnTo>
                  <a:lnTo>
                    <a:pt x="516861" y="126435"/>
                  </a:lnTo>
                  <a:lnTo>
                    <a:pt x="489494" y="90807"/>
                  </a:lnTo>
                  <a:lnTo>
                    <a:pt x="456062" y="60040"/>
                  </a:lnTo>
                  <a:lnTo>
                    <a:pt x="417350" y="34854"/>
                  </a:lnTo>
                  <a:lnTo>
                    <a:pt x="374140" y="15971"/>
                  </a:lnTo>
                  <a:lnTo>
                    <a:pt x="327218" y="4113"/>
                  </a:lnTo>
                  <a:lnTo>
                    <a:pt x="277367" y="0"/>
                  </a:lnTo>
                  <a:close/>
                </a:path>
              </a:pathLst>
            </a:custGeom>
            <a:solidFill>
              <a:srgbClr val="FFFFFF"/>
            </a:solidFill>
          </p:spPr>
          <p:txBody>
            <a:bodyPr wrap="square" lIns="0" tIns="0" rIns="0" bIns="0" rtlCol="0"/>
            <a:lstStyle/>
            <a:p>
              <a:endParaRPr sz="2400"/>
            </a:p>
          </p:txBody>
        </p:sp>
        <p:sp>
          <p:nvSpPr>
            <p:cNvPr id="22" name="object 22"/>
            <p:cNvSpPr/>
            <p:nvPr/>
          </p:nvSpPr>
          <p:spPr>
            <a:xfrm>
              <a:off x="5681471" y="2048255"/>
              <a:ext cx="407034" cy="375285"/>
            </a:xfrm>
            <a:custGeom>
              <a:avLst/>
              <a:gdLst/>
              <a:ahLst/>
              <a:cxnLst/>
              <a:rect l="l" t="t" r="r" b="b"/>
              <a:pathLst>
                <a:path w="407035" h="375285">
                  <a:moveTo>
                    <a:pt x="203453" y="0"/>
                  </a:moveTo>
                  <a:lnTo>
                    <a:pt x="156794" y="4951"/>
                  </a:lnTo>
                  <a:lnTo>
                    <a:pt x="113966" y="19056"/>
                  </a:lnTo>
                  <a:lnTo>
                    <a:pt x="76191" y="41187"/>
                  </a:lnTo>
                  <a:lnTo>
                    <a:pt x="44686" y="70219"/>
                  </a:lnTo>
                  <a:lnTo>
                    <a:pt x="20673" y="105024"/>
                  </a:lnTo>
                  <a:lnTo>
                    <a:pt x="5371" y="144477"/>
                  </a:lnTo>
                  <a:lnTo>
                    <a:pt x="0" y="187451"/>
                  </a:lnTo>
                  <a:lnTo>
                    <a:pt x="5371" y="230426"/>
                  </a:lnTo>
                  <a:lnTo>
                    <a:pt x="20673" y="269879"/>
                  </a:lnTo>
                  <a:lnTo>
                    <a:pt x="44686" y="304684"/>
                  </a:lnTo>
                  <a:lnTo>
                    <a:pt x="76191" y="333716"/>
                  </a:lnTo>
                  <a:lnTo>
                    <a:pt x="113966" y="355847"/>
                  </a:lnTo>
                  <a:lnTo>
                    <a:pt x="156794" y="369952"/>
                  </a:lnTo>
                  <a:lnTo>
                    <a:pt x="203453" y="374904"/>
                  </a:lnTo>
                  <a:lnTo>
                    <a:pt x="250113" y="369952"/>
                  </a:lnTo>
                  <a:lnTo>
                    <a:pt x="292941" y="355847"/>
                  </a:lnTo>
                  <a:lnTo>
                    <a:pt x="330716" y="333716"/>
                  </a:lnTo>
                  <a:lnTo>
                    <a:pt x="362221" y="304684"/>
                  </a:lnTo>
                  <a:lnTo>
                    <a:pt x="386234" y="269879"/>
                  </a:lnTo>
                  <a:lnTo>
                    <a:pt x="401536" y="230426"/>
                  </a:lnTo>
                  <a:lnTo>
                    <a:pt x="406907" y="187451"/>
                  </a:lnTo>
                  <a:lnTo>
                    <a:pt x="401536" y="144477"/>
                  </a:lnTo>
                  <a:lnTo>
                    <a:pt x="386234" y="105024"/>
                  </a:lnTo>
                  <a:lnTo>
                    <a:pt x="362221" y="70219"/>
                  </a:lnTo>
                  <a:lnTo>
                    <a:pt x="330716" y="41187"/>
                  </a:lnTo>
                  <a:lnTo>
                    <a:pt x="292941" y="19056"/>
                  </a:lnTo>
                  <a:lnTo>
                    <a:pt x="250113" y="4951"/>
                  </a:lnTo>
                  <a:lnTo>
                    <a:pt x="203453" y="0"/>
                  </a:lnTo>
                  <a:close/>
                </a:path>
              </a:pathLst>
            </a:custGeom>
            <a:solidFill>
              <a:srgbClr val="EF5486"/>
            </a:solidFill>
          </p:spPr>
          <p:txBody>
            <a:bodyPr wrap="square" lIns="0" tIns="0" rIns="0" bIns="0" rtlCol="0"/>
            <a:lstStyle/>
            <a:p>
              <a:endParaRPr sz="2400"/>
            </a:p>
          </p:txBody>
        </p:sp>
        <p:pic>
          <p:nvPicPr>
            <p:cNvPr id="23" name="object 23"/>
            <p:cNvPicPr/>
            <p:nvPr/>
          </p:nvPicPr>
          <p:blipFill>
            <a:blip r:embed="rId10" cstate="print"/>
            <a:stretch>
              <a:fillRect/>
            </a:stretch>
          </p:blipFill>
          <p:spPr>
            <a:xfrm>
              <a:off x="5815837" y="2194686"/>
              <a:ext cx="140208" cy="103631"/>
            </a:xfrm>
            <a:prstGeom prst="rect">
              <a:avLst/>
            </a:prstGeom>
          </p:spPr>
        </p:pic>
      </p:grpSp>
      <p:sp>
        <p:nvSpPr>
          <p:cNvPr id="24" name="object 24"/>
          <p:cNvSpPr txBox="1"/>
          <p:nvPr/>
        </p:nvSpPr>
        <p:spPr>
          <a:xfrm>
            <a:off x="8500363" y="2619011"/>
            <a:ext cx="2786380" cy="509541"/>
          </a:xfrm>
          <a:prstGeom prst="rect">
            <a:avLst/>
          </a:prstGeom>
        </p:spPr>
        <p:txBody>
          <a:bodyPr vert="horz" wrap="square" lIns="0" tIns="16933" rIns="0" bIns="0" rtlCol="0">
            <a:spAutoFit/>
          </a:bodyPr>
          <a:lstStyle/>
          <a:p>
            <a:pPr marL="16933">
              <a:spcBef>
                <a:spcPts val="133"/>
              </a:spcBef>
            </a:pPr>
            <a:r>
              <a:rPr sz="1600" b="1" dirty="0">
                <a:solidFill>
                  <a:srgbClr val="001F5F"/>
                </a:solidFill>
                <a:latin typeface="Verdana"/>
                <a:cs typeface="Verdana"/>
              </a:rPr>
              <a:t>Promote</a:t>
            </a:r>
            <a:r>
              <a:rPr sz="1600" b="1" spc="-47" dirty="0">
                <a:solidFill>
                  <a:srgbClr val="001F5F"/>
                </a:solidFill>
                <a:latin typeface="Verdana"/>
                <a:cs typeface="Verdana"/>
              </a:rPr>
              <a:t> </a:t>
            </a:r>
            <a:r>
              <a:rPr sz="1600" b="1" dirty="0">
                <a:solidFill>
                  <a:srgbClr val="001F5F"/>
                </a:solidFill>
                <a:latin typeface="Verdana"/>
                <a:cs typeface="Verdana"/>
              </a:rPr>
              <a:t>the</a:t>
            </a:r>
            <a:r>
              <a:rPr sz="1600" b="1" spc="-53" dirty="0">
                <a:solidFill>
                  <a:srgbClr val="001F5F"/>
                </a:solidFill>
                <a:latin typeface="Verdana"/>
                <a:cs typeface="Verdana"/>
              </a:rPr>
              <a:t> </a:t>
            </a:r>
            <a:r>
              <a:rPr sz="1600" b="1" spc="-13" dirty="0">
                <a:solidFill>
                  <a:srgbClr val="001F5F"/>
                </a:solidFill>
                <a:latin typeface="Verdana"/>
                <a:cs typeface="Verdana"/>
              </a:rPr>
              <a:t>circulation</a:t>
            </a:r>
            <a:endParaRPr sz="1600">
              <a:latin typeface="Verdana"/>
              <a:cs typeface="Verdana"/>
            </a:endParaRPr>
          </a:p>
          <a:p>
            <a:pPr marL="16933">
              <a:spcBef>
                <a:spcPts val="7"/>
              </a:spcBef>
            </a:pPr>
            <a:r>
              <a:rPr sz="1600" b="1" dirty="0">
                <a:solidFill>
                  <a:srgbClr val="001F5F"/>
                </a:solidFill>
                <a:latin typeface="Verdana"/>
                <a:cs typeface="Verdana"/>
              </a:rPr>
              <a:t>of</a:t>
            </a:r>
            <a:r>
              <a:rPr sz="1600" b="1" spc="13" dirty="0">
                <a:solidFill>
                  <a:srgbClr val="001F5F"/>
                </a:solidFill>
                <a:latin typeface="Verdana"/>
                <a:cs typeface="Verdana"/>
              </a:rPr>
              <a:t> </a:t>
            </a:r>
            <a:r>
              <a:rPr sz="1600" b="1" spc="-13" dirty="0">
                <a:solidFill>
                  <a:srgbClr val="001F5F"/>
                </a:solidFill>
                <a:latin typeface="Verdana"/>
                <a:cs typeface="Verdana"/>
              </a:rPr>
              <a:t>high-</a:t>
            </a:r>
            <a:r>
              <a:rPr sz="1600" b="1" dirty="0">
                <a:solidFill>
                  <a:srgbClr val="001F5F"/>
                </a:solidFill>
                <a:latin typeface="Verdana"/>
                <a:cs typeface="Verdana"/>
              </a:rPr>
              <a:t>quality</a:t>
            </a:r>
            <a:r>
              <a:rPr sz="1600" b="1" spc="-20" dirty="0">
                <a:solidFill>
                  <a:srgbClr val="001F5F"/>
                </a:solidFill>
                <a:latin typeface="Verdana"/>
                <a:cs typeface="Verdana"/>
              </a:rPr>
              <a:t> </a:t>
            </a:r>
            <a:r>
              <a:rPr sz="1600" b="1" spc="-13" dirty="0">
                <a:solidFill>
                  <a:srgbClr val="001F5F"/>
                </a:solidFill>
                <a:latin typeface="Verdana"/>
                <a:cs typeface="Verdana"/>
              </a:rPr>
              <a:t>products</a:t>
            </a:r>
            <a:endParaRPr sz="1600">
              <a:latin typeface="Verdana"/>
              <a:cs typeface="Verdana"/>
            </a:endParaRPr>
          </a:p>
        </p:txBody>
      </p:sp>
      <p:grpSp>
        <p:nvGrpSpPr>
          <p:cNvPr id="25" name="object 25"/>
          <p:cNvGrpSpPr/>
          <p:nvPr/>
        </p:nvGrpSpPr>
        <p:grpSpPr>
          <a:xfrm>
            <a:off x="7305040" y="4301743"/>
            <a:ext cx="1401233" cy="1344507"/>
            <a:chOff x="5478779" y="3226307"/>
            <a:chExt cx="1050925" cy="1008380"/>
          </a:xfrm>
        </p:grpSpPr>
        <p:pic>
          <p:nvPicPr>
            <p:cNvPr id="26" name="object 26"/>
            <p:cNvPicPr/>
            <p:nvPr/>
          </p:nvPicPr>
          <p:blipFill>
            <a:blip r:embed="rId11" cstate="print"/>
            <a:stretch>
              <a:fillRect/>
            </a:stretch>
          </p:blipFill>
          <p:spPr>
            <a:xfrm>
              <a:off x="5478779" y="3226307"/>
              <a:ext cx="1050632" cy="1008125"/>
            </a:xfrm>
            <a:prstGeom prst="rect">
              <a:avLst/>
            </a:prstGeom>
          </p:spPr>
        </p:pic>
        <p:sp>
          <p:nvSpPr>
            <p:cNvPr id="27" name="object 27"/>
            <p:cNvSpPr/>
            <p:nvPr/>
          </p:nvSpPr>
          <p:spPr>
            <a:xfrm>
              <a:off x="5608319" y="3482339"/>
              <a:ext cx="554990" cy="512445"/>
            </a:xfrm>
            <a:custGeom>
              <a:avLst/>
              <a:gdLst/>
              <a:ahLst/>
              <a:cxnLst/>
              <a:rect l="l" t="t" r="r" b="b"/>
              <a:pathLst>
                <a:path w="554989" h="512445">
                  <a:moveTo>
                    <a:pt x="277367" y="0"/>
                  </a:moveTo>
                  <a:lnTo>
                    <a:pt x="227517" y="4126"/>
                  </a:lnTo>
                  <a:lnTo>
                    <a:pt x="180595" y="16023"/>
                  </a:lnTo>
                  <a:lnTo>
                    <a:pt x="137385" y="34967"/>
                  </a:lnTo>
                  <a:lnTo>
                    <a:pt x="98673" y="60232"/>
                  </a:lnTo>
                  <a:lnTo>
                    <a:pt x="65241" y="91095"/>
                  </a:lnTo>
                  <a:lnTo>
                    <a:pt x="37874" y="126830"/>
                  </a:lnTo>
                  <a:lnTo>
                    <a:pt x="17355" y="166714"/>
                  </a:lnTo>
                  <a:lnTo>
                    <a:pt x="4469" y="210023"/>
                  </a:lnTo>
                  <a:lnTo>
                    <a:pt x="0" y="256032"/>
                  </a:lnTo>
                  <a:lnTo>
                    <a:pt x="4469" y="302053"/>
                  </a:lnTo>
                  <a:lnTo>
                    <a:pt x="17355" y="345369"/>
                  </a:lnTo>
                  <a:lnTo>
                    <a:pt x="37874" y="385255"/>
                  </a:lnTo>
                  <a:lnTo>
                    <a:pt x="65241" y="420989"/>
                  </a:lnTo>
                  <a:lnTo>
                    <a:pt x="98673" y="451848"/>
                  </a:lnTo>
                  <a:lnTo>
                    <a:pt x="137385" y="477107"/>
                  </a:lnTo>
                  <a:lnTo>
                    <a:pt x="180595" y="496045"/>
                  </a:lnTo>
                  <a:lnTo>
                    <a:pt x="227517" y="507938"/>
                  </a:lnTo>
                  <a:lnTo>
                    <a:pt x="277367" y="512064"/>
                  </a:lnTo>
                  <a:lnTo>
                    <a:pt x="327218" y="507938"/>
                  </a:lnTo>
                  <a:lnTo>
                    <a:pt x="374140" y="496045"/>
                  </a:lnTo>
                  <a:lnTo>
                    <a:pt x="417350" y="477107"/>
                  </a:lnTo>
                  <a:lnTo>
                    <a:pt x="456062" y="451848"/>
                  </a:lnTo>
                  <a:lnTo>
                    <a:pt x="489494" y="420989"/>
                  </a:lnTo>
                  <a:lnTo>
                    <a:pt x="516861" y="385255"/>
                  </a:lnTo>
                  <a:lnTo>
                    <a:pt x="537380" y="345369"/>
                  </a:lnTo>
                  <a:lnTo>
                    <a:pt x="550266" y="302053"/>
                  </a:lnTo>
                  <a:lnTo>
                    <a:pt x="554735" y="256032"/>
                  </a:lnTo>
                  <a:lnTo>
                    <a:pt x="550266" y="210023"/>
                  </a:lnTo>
                  <a:lnTo>
                    <a:pt x="537380" y="166714"/>
                  </a:lnTo>
                  <a:lnTo>
                    <a:pt x="516861" y="126830"/>
                  </a:lnTo>
                  <a:lnTo>
                    <a:pt x="489494" y="91095"/>
                  </a:lnTo>
                  <a:lnTo>
                    <a:pt x="456062" y="60232"/>
                  </a:lnTo>
                  <a:lnTo>
                    <a:pt x="417350" y="34967"/>
                  </a:lnTo>
                  <a:lnTo>
                    <a:pt x="374140" y="16023"/>
                  </a:lnTo>
                  <a:lnTo>
                    <a:pt x="327218" y="4126"/>
                  </a:lnTo>
                  <a:lnTo>
                    <a:pt x="277367" y="0"/>
                  </a:lnTo>
                  <a:close/>
                </a:path>
              </a:pathLst>
            </a:custGeom>
            <a:solidFill>
              <a:srgbClr val="FFFFFF"/>
            </a:solidFill>
          </p:spPr>
          <p:txBody>
            <a:bodyPr wrap="square" lIns="0" tIns="0" rIns="0" bIns="0" rtlCol="0"/>
            <a:lstStyle/>
            <a:p>
              <a:endParaRPr sz="2400"/>
            </a:p>
          </p:txBody>
        </p:sp>
        <p:sp>
          <p:nvSpPr>
            <p:cNvPr id="28" name="object 28"/>
            <p:cNvSpPr/>
            <p:nvPr/>
          </p:nvSpPr>
          <p:spPr>
            <a:xfrm>
              <a:off x="5681471" y="3550919"/>
              <a:ext cx="407034" cy="375285"/>
            </a:xfrm>
            <a:custGeom>
              <a:avLst/>
              <a:gdLst/>
              <a:ahLst/>
              <a:cxnLst/>
              <a:rect l="l" t="t" r="r" b="b"/>
              <a:pathLst>
                <a:path w="407035" h="375285">
                  <a:moveTo>
                    <a:pt x="203453" y="0"/>
                  </a:moveTo>
                  <a:lnTo>
                    <a:pt x="156794" y="4951"/>
                  </a:lnTo>
                  <a:lnTo>
                    <a:pt x="113966" y="19056"/>
                  </a:lnTo>
                  <a:lnTo>
                    <a:pt x="76191" y="41187"/>
                  </a:lnTo>
                  <a:lnTo>
                    <a:pt x="44686" y="70219"/>
                  </a:lnTo>
                  <a:lnTo>
                    <a:pt x="20673" y="105024"/>
                  </a:lnTo>
                  <a:lnTo>
                    <a:pt x="5371" y="144477"/>
                  </a:lnTo>
                  <a:lnTo>
                    <a:pt x="0" y="187451"/>
                  </a:lnTo>
                  <a:lnTo>
                    <a:pt x="5371" y="230426"/>
                  </a:lnTo>
                  <a:lnTo>
                    <a:pt x="20673" y="269879"/>
                  </a:lnTo>
                  <a:lnTo>
                    <a:pt x="44686" y="304684"/>
                  </a:lnTo>
                  <a:lnTo>
                    <a:pt x="76191" y="333716"/>
                  </a:lnTo>
                  <a:lnTo>
                    <a:pt x="113966" y="355847"/>
                  </a:lnTo>
                  <a:lnTo>
                    <a:pt x="156794" y="369952"/>
                  </a:lnTo>
                  <a:lnTo>
                    <a:pt x="203453" y="374903"/>
                  </a:lnTo>
                  <a:lnTo>
                    <a:pt x="250113" y="369952"/>
                  </a:lnTo>
                  <a:lnTo>
                    <a:pt x="292941" y="355847"/>
                  </a:lnTo>
                  <a:lnTo>
                    <a:pt x="330716" y="333716"/>
                  </a:lnTo>
                  <a:lnTo>
                    <a:pt x="362221" y="304684"/>
                  </a:lnTo>
                  <a:lnTo>
                    <a:pt x="386234" y="269879"/>
                  </a:lnTo>
                  <a:lnTo>
                    <a:pt x="401536" y="230426"/>
                  </a:lnTo>
                  <a:lnTo>
                    <a:pt x="406907" y="187451"/>
                  </a:lnTo>
                  <a:lnTo>
                    <a:pt x="401536" y="144477"/>
                  </a:lnTo>
                  <a:lnTo>
                    <a:pt x="386234" y="105024"/>
                  </a:lnTo>
                  <a:lnTo>
                    <a:pt x="362221" y="70219"/>
                  </a:lnTo>
                  <a:lnTo>
                    <a:pt x="330716" y="41187"/>
                  </a:lnTo>
                  <a:lnTo>
                    <a:pt x="292941" y="19056"/>
                  </a:lnTo>
                  <a:lnTo>
                    <a:pt x="250113" y="4951"/>
                  </a:lnTo>
                  <a:lnTo>
                    <a:pt x="203453" y="0"/>
                  </a:lnTo>
                  <a:close/>
                </a:path>
              </a:pathLst>
            </a:custGeom>
            <a:solidFill>
              <a:srgbClr val="BE83B8"/>
            </a:solidFill>
          </p:spPr>
          <p:txBody>
            <a:bodyPr wrap="square" lIns="0" tIns="0" rIns="0" bIns="0" rtlCol="0"/>
            <a:lstStyle/>
            <a:p>
              <a:endParaRPr sz="2400"/>
            </a:p>
          </p:txBody>
        </p:sp>
        <p:pic>
          <p:nvPicPr>
            <p:cNvPr id="29" name="object 29"/>
            <p:cNvPicPr/>
            <p:nvPr/>
          </p:nvPicPr>
          <p:blipFill>
            <a:blip r:embed="rId12" cstate="print"/>
            <a:stretch>
              <a:fillRect/>
            </a:stretch>
          </p:blipFill>
          <p:spPr>
            <a:xfrm>
              <a:off x="5827902" y="3674490"/>
              <a:ext cx="115824" cy="128015"/>
            </a:xfrm>
            <a:prstGeom prst="rect">
              <a:avLst/>
            </a:prstGeom>
          </p:spPr>
        </p:pic>
      </p:grpSp>
      <p:sp>
        <p:nvSpPr>
          <p:cNvPr id="30" name="object 30"/>
          <p:cNvSpPr txBox="1"/>
          <p:nvPr/>
        </p:nvSpPr>
        <p:spPr>
          <a:xfrm>
            <a:off x="8404520" y="4907381"/>
            <a:ext cx="2328333" cy="755762"/>
          </a:xfrm>
          <a:prstGeom prst="rect">
            <a:avLst/>
          </a:prstGeom>
        </p:spPr>
        <p:txBody>
          <a:bodyPr vert="horz" wrap="square" lIns="0" tIns="16933" rIns="0" bIns="0" rtlCol="0">
            <a:spAutoFit/>
          </a:bodyPr>
          <a:lstStyle/>
          <a:p>
            <a:pPr marL="16933" marR="6773">
              <a:spcBef>
                <a:spcPts val="133"/>
              </a:spcBef>
            </a:pPr>
            <a:r>
              <a:rPr sz="1600" b="1" dirty="0">
                <a:solidFill>
                  <a:srgbClr val="001F5F"/>
                </a:solidFill>
                <a:latin typeface="Verdana"/>
                <a:cs typeface="Verdana"/>
              </a:rPr>
              <a:t>Build</a:t>
            </a:r>
            <a:r>
              <a:rPr sz="1600" b="1" spc="-33" dirty="0">
                <a:solidFill>
                  <a:srgbClr val="001F5F"/>
                </a:solidFill>
                <a:latin typeface="Verdana"/>
                <a:cs typeface="Verdana"/>
              </a:rPr>
              <a:t> </a:t>
            </a:r>
            <a:r>
              <a:rPr sz="1600" b="1" dirty="0">
                <a:solidFill>
                  <a:srgbClr val="001F5F"/>
                </a:solidFill>
                <a:latin typeface="Verdana"/>
                <a:cs typeface="Verdana"/>
              </a:rPr>
              <a:t>trust</a:t>
            </a:r>
            <a:r>
              <a:rPr sz="1600" b="1" spc="-40" dirty="0">
                <a:solidFill>
                  <a:srgbClr val="001F5F"/>
                </a:solidFill>
                <a:latin typeface="Verdana"/>
                <a:cs typeface="Verdana"/>
              </a:rPr>
              <a:t> </a:t>
            </a:r>
            <a:r>
              <a:rPr sz="1600" b="1" spc="-33" dirty="0">
                <a:solidFill>
                  <a:srgbClr val="001F5F"/>
                </a:solidFill>
                <a:latin typeface="Verdana"/>
                <a:cs typeface="Verdana"/>
              </a:rPr>
              <a:t>in </a:t>
            </a:r>
            <a:r>
              <a:rPr sz="1600" b="1" dirty="0">
                <a:solidFill>
                  <a:srgbClr val="001F5F"/>
                </a:solidFill>
                <a:latin typeface="Verdana"/>
                <a:cs typeface="Verdana"/>
              </a:rPr>
              <a:t>international</a:t>
            </a:r>
            <a:r>
              <a:rPr sz="1600" b="1" spc="-60" dirty="0">
                <a:solidFill>
                  <a:srgbClr val="001F5F"/>
                </a:solidFill>
                <a:latin typeface="Verdana"/>
                <a:cs typeface="Verdana"/>
              </a:rPr>
              <a:t> </a:t>
            </a:r>
            <a:r>
              <a:rPr sz="1600" b="1" spc="-13" dirty="0">
                <a:solidFill>
                  <a:srgbClr val="001F5F"/>
                </a:solidFill>
                <a:latin typeface="Verdana"/>
                <a:cs typeface="Verdana"/>
              </a:rPr>
              <a:t>supply chain</a:t>
            </a:r>
            <a:endParaRPr sz="1600">
              <a:latin typeface="Verdana"/>
              <a:cs typeface="Verdana"/>
            </a:endParaRPr>
          </a:p>
        </p:txBody>
      </p:sp>
      <p:sp>
        <p:nvSpPr>
          <p:cNvPr id="31" name="object 31"/>
          <p:cNvSpPr txBox="1"/>
          <p:nvPr/>
        </p:nvSpPr>
        <p:spPr>
          <a:xfrm>
            <a:off x="1090912" y="3721100"/>
            <a:ext cx="2206413" cy="755762"/>
          </a:xfrm>
          <a:prstGeom prst="rect">
            <a:avLst/>
          </a:prstGeom>
        </p:spPr>
        <p:txBody>
          <a:bodyPr vert="horz" wrap="square" lIns="0" tIns="16933" rIns="0" bIns="0" rtlCol="0">
            <a:spAutoFit/>
          </a:bodyPr>
          <a:lstStyle/>
          <a:p>
            <a:pPr marL="16933" marR="6773">
              <a:spcBef>
                <a:spcPts val="133"/>
              </a:spcBef>
            </a:pPr>
            <a:r>
              <a:rPr sz="1600" b="1" dirty="0">
                <a:solidFill>
                  <a:srgbClr val="001F5F"/>
                </a:solidFill>
                <a:latin typeface="Verdana"/>
                <a:cs typeface="Verdana"/>
              </a:rPr>
              <a:t>Facilitate</a:t>
            </a:r>
            <a:r>
              <a:rPr sz="1600" b="1" spc="-73" dirty="0">
                <a:solidFill>
                  <a:srgbClr val="001F5F"/>
                </a:solidFill>
                <a:latin typeface="Verdana"/>
                <a:cs typeface="Verdana"/>
              </a:rPr>
              <a:t> </a:t>
            </a:r>
            <a:r>
              <a:rPr sz="1600" b="1" dirty="0">
                <a:solidFill>
                  <a:srgbClr val="001F5F"/>
                </a:solidFill>
                <a:latin typeface="Verdana"/>
                <a:cs typeface="Verdana"/>
              </a:rPr>
              <a:t>access</a:t>
            </a:r>
            <a:r>
              <a:rPr sz="1600" b="1" spc="-80" dirty="0">
                <a:solidFill>
                  <a:srgbClr val="001F5F"/>
                </a:solidFill>
                <a:latin typeface="Verdana"/>
                <a:cs typeface="Verdana"/>
              </a:rPr>
              <a:t> </a:t>
            </a:r>
            <a:r>
              <a:rPr sz="1600" b="1" spc="-33" dirty="0">
                <a:solidFill>
                  <a:srgbClr val="001F5F"/>
                </a:solidFill>
                <a:latin typeface="Verdana"/>
                <a:cs typeface="Verdana"/>
              </a:rPr>
              <a:t>to </a:t>
            </a:r>
            <a:r>
              <a:rPr sz="1600" b="1" spc="-13" dirty="0">
                <a:solidFill>
                  <a:srgbClr val="001F5F"/>
                </a:solidFill>
                <a:latin typeface="Verdana"/>
                <a:cs typeface="Verdana"/>
              </a:rPr>
              <a:t>China-</a:t>
            </a:r>
            <a:r>
              <a:rPr sz="1600" b="1" dirty="0">
                <a:solidFill>
                  <a:srgbClr val="001F5F"/>
                </a:solidFill>
                <a:latin typeface="Verdana"/>
                <a:cs typeface="Verdana"/>
              </a:rPr>
              <a:t>Africa</a:t>
            </a:r>
            <a:r>
              <a:rPr sz="1600" b="1" spc="13" dirty="0">
                <a:solidFill>
                  <a:srgbClr val="001F5F"/>
                </a:solidFill>
                <a:latin typeface="Verdana"/>
                <a:cs typeface="Verdana"/>
              </a:rPr>
              <a:t> </a:t>
            </a:r>
            <a:r>
              <a:rPr sz="1600" b="1" spc="-27" dirty="0">
                <a:solidFill>
                  <a:srgbClr val="001F5F"/>
                </a:solidFill>
                <a:latin typeface="Verdana"/>
                <a:cs typeface="Verdana"/>
              </a:rPr>
              <a:t>trade </a:t>
            </a:r>
            <a:r>
              <a:rPr sz="1600" b="1" dirty="0">
                <a:solidFill>
                  <a:srgbClr val="001F5F"/>
                </a:solidFill>
                <a:latin typeface="Verdana"/>
                <a:cs typeface="Verdana"/>
              </a:rPr>
              <a:t>product</a:t>
            </a:r>
            <a:r>
              <a:rPr sz="1600" b="1" spc="-53" dirty="0">
                <a:solidFill>
                  <a:srgbClr val="001F5F"/>
                </a:solidFill>
                <a:latin typeface="Verdana"/>
                <a:cs typeface="Verdana"/>
              </a:rPr>
              <a:t> </a:t>
            </a:r>
            <a:r>
              <a:rPr sz="1600" b="1" spc="-13" dirty="0">
                <a:solidFill>
                  <a:srgbClr val="001F5F"/>
                </a:solidFill>
                <a:latin typeface="Verdana"/>
                <a:cs typeface="Verdana"/>
              </a:rPr>
              <a:t>inquires</a:t>
            </a:r>
            <a:endParaRPr sz="1600">
              <a:latin typeface="Verdana"/>
              <a:cs typeface="Verdana"/>
            </a:endParaRPr>
          </a:p>
        </p:txBody>
      </p:sp>
      <p:sp>
        <p:nvSpPr>
          <p:cNvPr id="32" name="object 32"/>
          <p:cNvSpPr txBox="1"/>
          <p:nvPr/>
        </p:nvSpPr>
        <p:spPr>
          <a:xfrm>
            <a:off x="8688155" y="3740235"/>
            <a:ext cx="2626360" cy="509541"/>
          </a:xfrm>
          <a:prstGeom prst="rect">
            <a:avLst/>
          </a:prstGeom>
        </p:spPr>
        <p:txBody>
          <a:bodyPr vert="horz" wrap="square" lIns="0" tIns="16933" rIns="0" bIns="0" rtlCol="0">
            <a:spAutoFit/>
          </a:bodyPr>
          <a:lstStyle/>
          <a:p>
            <a:pPr marL="16933" marR="6773">
              <a:spcBef>
                <a:spcPts val="133"/>
              </a:spcBef>
            </a:pPr>
            <a:r>
              <a:rPr sz="1600" b="1" dirty="0">
                <a:solidFill>
                  <a:srgbClr val="001F5F"/>
                </a:solidFill>
                <a:latin typeface="Verdana"/>
                <a:cs typeface="Verdana"/>
              </a:rPr>
              <a:t>Enhance</a:t>
            </a:r>
            <a:r>
              <a:rPr sz="1600" b="1" spc="-47" dirty="0">
                <a:solidFill>
                  <a:srgbClr val="001F5F"/>
                </a:solidFill>
                <a:latin typeface="Verdana"/>
                <a:cs typeface="Verdana"/>
              </a:rPr>
              <a:t> </a:t>
            </a:r>
            <a:r>
              <a:rPr sz="1600" b="1" dirty="0">
                <a:solidFill>
                  <a:srgbClr val="001F5F"/>
                </a:solidFill>
                <a:latin typeface="Verdana"/>
                <a:cs typeface="Verdana"/>
              </a:rPr>
              <a:t>the</a:t>
            </a:r>
            <a:r>
              <a:rPr sz="1600" b="1" spc="-33" dirty="0">
                <a:solidFill>
                  <a:srgbClr val="001F5F"/>
                </a:solidFill>
                <a:latin typeface="Verdana"/>
                <a:cs typeface="Verdana"/>
              </a:rPr>
              <a:t> </a:t>
            </a:r>
            <a:r>
              <a:rPr sz="1600" b="1" spc="-13" dirty="0">
                <a:solidFill>
                  <a:srgbClr val="001F5F"/>
                </a:solidFill>
                <a:latin typeface="Verdana"/>
                <a:cs typeface="Verdana"/>
              </a:rPr>
              <a:t>consumer experience</a:t>
            </a:r>
            <a:endParaRPr sz="1600">
              <a:latin typeface="Verdana"/>
              <a:cs typeface="Verdana"/>
            </a:endParaRPr>
          </a:p>
        </p:txBody>
      </p:sp>
      <p:pic>
        <p:nvPicPr>
          <p:cNvPr id="33" name="object 33"/>
          <p:cNvPicPr/>
          <p:nvPr/>
        </p:nvPicPr>
        <p:blipFill>
          <a:blip r:embed="rId13" cstate="print"/>
          <a:stretch>
            <a:fillRect/>
          </a:stretch>
        </p:blipFill>
        <p:spPr>
          <a:xfrm>
            <a:off x="717297" y="1558527"/>
            <a:ext cx="2018791" cy="756936"/>
          </a:xfrm>
          <a:prstGeom prst="rect">
            <a:avLst/>
          </a:prstGeom>
        </p:spPr>
      </p:pic>
      <p:sp>
        <p:nvSpPr>
          <p:cNvPr id="34" name="object 34"/>
          <p:cNvSpPr txBox="1"/>
          <p:nvPr/>
        </p:nvSpPr>
        <p:spPr>
          <a:xfrm>
            <a:off x="913316" y="1651001"/>
            <a:ext cx="1600200" cy="428387"/>
          </a:xfrm>
          <a:prstGeom prst="rect">
            <a:avLst/>
          </a:prstGeom>
        </p:spPr>
        <p:txBody>
          <a:bodyPr vert="horz" wrap="square" lIns="0" tIns="17780" rIns="0" bIns="0" rtlCol="0">
            <a:spAutoFit/>
          </a:bodyPr>
          <a:lstStyle/>
          <a:p>
            <a:pPr marL="16933">
              <a:spcBef>
                <a:spcPts val="140"/>
              </a:spcBef>
            </a:pPr>
            <a:r>
              <a:rPr sz="2667" b="1" spc="-13" dirty="0">
                <a:solidFill>
                  <a:srgbClr val="F16234"/>
                </a:solidFill>
                <a:latin typeface="Verdana"/>
                <a:cs typeface="Verdana"/>
              </a:rPr>
              <a:t>Benefits</a:t>
            </a:r>
            <a:endParaRPr sz="2667">
              <a:latin typeface="Verdana"/>
              <a:cs typeface="Verdana"/>
            </a:endParaRPr>
          </a:p>
        </p:txBody>
      </p:sp>
      <p:grpSp>
        <p:nvGrpSpPr>
          <p:cNvPr id="35" name="object 35"/>
          <p:cNvGrpSpPr/>
          <p:nvPr/>
        </p:nvGrpSpPr>
        <p:grpSpPr>
          <a:xfrm>
            <a:off x="3572257" y="3438109"/>
            <a:ext cx="5629487" cy="1354667"/>
            <a:chOff x="2679192" y="2578582"/>
            <a:chExt cx="4222115" cy="1016000"/>
          </a:xfrm>
        </p:grpSpPr>
        <p:pic>
          <p:nvPicPr>
            <p:cNvPr id="36" name="object 36"/>
            <p:cNvPicPr/>
            <p:nvPr/>
          </p:nvPicPr>
          <p:blipFill>
            <a:blip r:embed="rId7" cstate="print"/>
            <a:stretch>
              <a:fillRect/>
            </a:stretch>
          </p:blipFill>
          <p:spPr>
            <a:xfrm>
              <a:off x="5852160" y="2586227"/>
              <a:ext cx="1049134" cy="1008126"/>
            </a:xfrm>
            <a:prstGeom prst="rect">
              <a:avLst/>
            </a:prstGeom>
          </p:spPr>
        </p:pic>
        <p:sp>
          <p:nvSpPr>
            <p:cNvPr id="37" name="object 37"/>
            <p:cNvSpPr/>
            <p:nvPr/>
          </p:nvSpPr>
          <p:spPr>
            <a:xfrm>
              <a:off x="5981700" y="2842259"/>
              <a:ext cx="553720" cy="512445"/>
            </a:xfrm>
            <a:custGeom>
              <a:avLst/>
              <a:gdLst/>
              <a:ahLst/>
              <a:cxnLst/>
              <a:rect l="l" t="t" r="r" b="b"/>
              <a:pathLst>
                <a:path w="553720" h="512445">
                  <a:moveTo>
                    <a:pt x="276605" y="0"/>
                  </a:moveTo>
                  <a:lnTo>
                    <a:pt x="226881" y="4126"/>
                  </a:lnTo>
                  <a:lnTo>
                    <a:pt x="180082" y="16023"/>
                  </a:lnTo>
                  <a:lnTo>
                    <a:pt x="136990" y="34967"/>
                  </a:lnTo>
                  <a:lnTo>
                    <a:pt x="98385" y="60232"/>
                  </a:lnTo>
                  <a:lnTo>
                    <a:pt x="65049" y="91095"/>
                  </a:lnTo>
                  <a:lnTo>
                    <a:pt x="37761" y="126830"/>
                  </a:lnTo>
                  <a:lnTo>
                    <a:pt x="17303" y="166714"/>
                  </a:lnTo>
                  <a:lnTo>
                    <a:pt x="4455" y="210023"/>
                  </a:lnTo>
                  <a:lnTo>
                    <a:pt x="0" y="256031"/>
                  </a:lnTo>
                  <a:lnTo>
                    <a:pt x="4455" y="302040"/>
                  </a:lnTo>
                  <a:lnTo>
                    <a:pt x="17303" y="345349"/>
                  </a:lnTo>
                  <a:lnTo>
                    <a:pt x="37761" y="385233"/>
                  </a:lnTo>
                  <a:lnTo>
                    <a:pt x="65049" y="420968"/>
                  </a:lnTo>
                  <a:lnTo>
                    <a:pt x="98385" y="451831"/>
                  </a:lnTo>
                  <a:lnTo>
                    <a:pt x="136990" y="477096"/>
                  </a:lnTo>
                  <a:lnTo>
                    <a:pt x="180082" y="496040"/>
                  </a:lnTo>
                  <a:lnTo>
                    <a:pt x="226881" y="507937"/>
                  </a:lnTo>
                  <a:lnTo>
                    <a:pt x="276605" y="512063"/>
                  </a:lnTo>
                  <a:lnTo>
                    <a:pt x="326330" y="507937"/>
                  </a:lnTo>
                  <a:lnTo>
                    <a:pt x="373129" y="496040"/>
                  </a:lnTo>
                  <a:lnTo>
                    <a:pt x="416221" y="477096"/>
                  </a:lnTo>
                  <a:lnTo>
                    <a:pt x="454826" y="451831"/>
                  </a:lnTo>
                  <a:lnTo>
                    <a:pt x="488162" y="420968"/>
                  </a:lnTo>
                  <a:lnTo>
                    <a:pt x="515450" y="385233"/>
                  </a:lnTo>
                  <a:lnTo>
                    <a:pt x="535908" y="345349"/>
                  </a:lnTo>
                  <a:lnTo>
                    <a:pt x="548756" y="302040"/>
                  </a:lnTo>
                  <a:lnTo>
                    <a:pt x="553211" y="256031"/>
                  </a:lnTo>
                  <a:lnTo>
                    <a:pt x="548756" y="210023"/>
                  </a:lnTo>
                  <a:lnTo>
                    <a:pt x="535908" y="166714"/>
                  </a:lnTo>
                  <a:lnTo>
                    <a:pt x="515450" y="126830"/>
                  </a:lnTo>
                  <a:lnTo>
                    <a:pt x="488162" y="91095"/>
                  </a:lnTo>
                  <a:lnTo>
                    <a:pt x="454826" y="60232"/>
                  </a:lnTo>
                  <a:lnTo>
                    <a:pt x="416221" y="34967"/>
                  </a:lnTo>
                  <a:lnTo>
                    <a:pt x="373129" y="16023"/>
                  </a:lnTo>
                  <a:lnTo>
                    <a:pt x="326330" y="4126"/>
                  </a:lnTo>
                  <a:lnTo>
                    <a:pt x="276605" y="0"/>
                  </a:lnTo>
                  <a:close/>
                </a:path>
              </a:pathLst>
            </a:custGeom>
            <a:solidFill>
              <a:srgbClr val="FFFFFF"/>
            </a:solidFill>
          </p:spPr>
          <p:txBody>
            <a:bodyPr wrap="square" lIns="0" tIns="0" rIns="0" bIns="0" rtlCol="0"/>
            <a:lstStyle/>
            <a:p>
              <a:endParaRPr sz="2400"/>
            </a:p>
          </p:txBody>
        </p:sp>
        <p:sp>
          <p:nvSpPr>
            <p:cNvPr id="38" name="object 38"/>
            <p:cNvSpPr/>
            <p:nvPr/>
          </p:nvSpPr>
          <p:spPr>
            <a:xfrm>
              <a:off x="6054851" y="2910839"/>
              <a:ext cx="407034" cy="375285"/>
            </a:xfrm>
            <a:custGeom>
              <a:avLst/>
              <a:gdLst/>
              <a:ahLst/>
              <a:cxnLst/>
              <a:rect l="l" t="t" r="r" b="b"/>
              <a:pathLst>
                <a:path w="407035" h="375285">
                  <a:moveTo>
                    <a:pt x="203453" y="0"/>
                  </a:moveTo>
                  <a:lnTo>
                    <a:pt x="156794" y="4951"/>
                  </a:lnTo>
                  <a:lnTo>
                    <a:pt x="113966" y="19056"/>
                  </a:lnTo>
                  <a:lnTo>
                    <a:pt x="76191" y="41187"/>
                  </a:lnTo>
                  <a:lnTo>
                    <a:pt x="44686" y="70219"/>
                  </a:lnTo>
                  <a:lnTo>
                    <a:pt x="20673" y="105024"/>
                  </a:lnTo>
                  <a:lnTo>
                    <a:pt x="5371" y="144477"/>
                  </a:lnTo>
                  <a:lnTo>
                    <a:pt x="0" y="187452"/>
                  </a:lnTo>
                  <a:lnTo>
                    <a:pt x="5371" y="230426"/>
                  </a:lnTo>
                  <a:lnTo>
                    <a:pt x="20673" y="269879"/>
                  </a:lnTo>
                  <a:lnTo>
                    <a:pt x="44686" y="304684"/>
                  </a:lnTo>
                  <a:lnTo>
                    <a:pt x="76191" y="333716"/>
                  </a:lnTo>
                  <a:lnTo>
                    <a:pt x="113966" y="355847"/>
                  </a:lnTo>
                  <a:lnTo>
                    <a:pt x="156794" y="369952"/>
                  </a:lnTo>
                  <a:lnTo>
                    <a:pt x="203453" y="374904"/>
                  </a:lnTo>
                  <a:lnTo>
                    <a:pt x="250113" y="369952"/>
                  </a:lnTo>
                  <a:lnTo>
                    <a:pt x="292941" y="355847"/>
                  </a:lnTo>
                  <a:lnTo>
                    <a:pt x="330716" y="333716"/>
                  </a:lnTo>
                  <a:lnTo>
                    <a:pt x="362221" y="304684"/>
                  </a:lnTo>
                  <a:lnTo>
                    <a:pt x="386234" y="269879"/>
                  </a:lnTo>
                  <a:lnTo>
                    <a:pt x="401536" y="230426"/>
                  </a:lnTo>
                  <a:lnTo>
                    <a:pt x="406908" y="187452"/>
                  </a:lnTo>
                  <a:lnTo>
                    <a:pt x="401536" y="144477"/>
                  </a:lnTo>
                  <a:lnTo>
                    <a:pt x="386234" y="105024"/>
                  </a:lnTo>
                  <a:lnTo>
                    <a:pt x="362221" y="70219"/>
                  </a:lnTo>
                  <a:lnTo>
                    <a:pt x="330716" y="41187"/>
                  </a:lnTo>
                  <a:lnTo>
                    <a:pt x="292941" y="19056"/>
                  </a:lnTo>
                  <a:lnTo>
                    <a:pt x="250113" y="4951"/>
                  </a:lnTo>
                  <a:lnTo>
                    <a:pt x="203453" y="0"/>
                  </a:lnTo>
                  <a:close/>
                </a:path>
              </a:pathLst>
            </a:custGeom>
            <a:solidFill>
              <a:srgbClr val="878A8D"/>
            </a:solidFill>
          </p:spPr>
          <p:txBody>
            <a:bodyPr wrap="square" lIns="0" tIns="0" rIns="0" bIns="0" rtlCol="0"/>
            <a:lstStyle/>
            <a:p>
              <a:endParaRPr sz="2400"/>
            </a:p>
          </p:txBody>
        </p:sp>
        <p:pic>
          <p:nvPicPr>
            <p:cNvPr id="39" name="object 39"/>
            <p:cNvPicPr/>
            <p:nvPr/>
          </p:nvPicPr>
          <p:blipFill>
            <a:blip r:embed="rId9" cstate="print"/>
            <a:stretch>
              <a:fillRect/>
            </a:stretch>
          </p:blipFill>
          <p:spPr>
            <a:xfrm>
              <a:off x="2679192" y="2578582"/>
              <a:ext cx="1050632" cy="1006627"/>
            </a:xfrm>
            <a:prstGeom prst="rect">
              <a:avLst/>
            </a:prstGeom>
          </p:spPr>
        </p:pic>
        <p:sp>
          <p:nvSpPr>
            <p:cNvPr id="40" name="object 40"/>
            <p:cNvSpPr/>
            <p:nvPr/>
          </p:nvSpPr>
          <p:spPr>
            <a:xfrm>
              <a:off x="2808732" y="2834639"/>
              <a:ext cx="554990" cy="510540"/>
            </a:xfrm>
            <a:custGeom>
              <a:avLst/>
              <a:gdLst/>
              <a:ahLst/>
              <a:cxnLst/>
              <a:rect l="l" t="t" r="r" b="b"/>
              <a:pathLst>
                <a:path w="554989" h="510539">
                  <a:moveTo>
                    <a:pt x="277368" y="0"/>
                  </a:moveTo>
                  <a:lnTo>
                    <a:pt x="227517" y="4113"/>
                  </a:lnTo>
                  <a:lnTo>
                    <a:pt x="180595" y="15971"/>
                  </a:lnTo>
                  <a:lnTo>
                    <a:pt x="137385" y="34854"/>
                  </a:lnTo>
                  <a:lnTo>
                    <a:pt x="98673" y="60040"/>
                  </a:lnTo>
                  <a:lnTo>
                    <a:pt x="65241" y="90807"/>
                  </a:lnTo>
                  <a:lnTo>
                    <a:pt x="37874" y="126435"/>
                  </a:lnTo>
                  <a:lnTo>
                    <a:pt x="17355" y="166202"/>
                  </a:lnTo>
                  <a:lnTo>
                    <a:pt x="4469" y="209387"/>
                  </a:lnTo>
                  <a:lnTo>
                    <a:pt x="0" y="255270"/>
                  </a:lnTo>
                  <a:lnTo>
                    <a:pt x="4469" y="301152"/>
                  </a:lnTo>
                  <a:lnTo>
                    <a:pt x="17355" y="344337"/>
                  </a:lnTo>
                  <a:lnTo>
                    <a:pt x="37874" y="384104"/>
                  </a:lnTo>
                  <a:lnTo>
                    <a:pt x="65241" y="419732"/>
                  </a:lnTo>
                  <a:lnTo>
                    <a:pt x="98673" y="450499"/>
                  </a:lnTo>
                  <a:lnTo>
                    <a:pt x="137385" y="475685"/>
                  </a:lnTo>
                  <a:lnTo>
                    <a:pt x="180595" y="494568"/>
                  </a:lnTo>
                  <a:lnTo>
                    <a:pt x="227517" y="506426"/>
                  </a:lnTo>
                  <a:lnTo>
                    <a:pt x="277368" y="510540"/>
                  </a:lnTo>
                  <a:lnTo>
                    <a:pt x="327218" y="506426"/>
                  </a:lnTo>
                  <a:lnTo>
                    <a:pt x="374140" y="494568"/>
                  </a:lnTo>
                  <a:lnTo>
                    <a:pt x="417350" y="475685"/>
                  </a:lnTo>
                  <a:lnTo>
                    <a:pt x="456062" y="450499"/>
                  </a:lnTo>
                  <a:lnTo>
                    <a:pt x="489494" y="419732"/>
                  </a:lnTo>
                  <a:lnTo>
                    <a:pt x="516861" y="384104"/>
                  </a:lnTo>
                  <a:lnTo>
                    <a:pt x="537380" y="344337"/>
                  </a:lnTo>
                  <a:lnTo>
                    <a:pt x="550266" y="301152"/>
                  </a:lnTo>
                  <a:lnTo>
                    <a:pt x="554735" y="255270"/>
                  </a:lnTo>
                  <a:lnTo>
                    <a:pt x="550266" y="209387"/>
                  </a:lnTo>
                  <a:lnTo>
                    <a:pt x="537380" y="166202"/>
                  </a:lnTo>
                  <a:lnTo>
                    <a:pt x="516861" y="126435"/>
                  </a:lnTo>
                  <a:lnTo>
                    <a:pt x="489494" y="90807"/>
                  </a:lnTo>
                  <a:lnTo>
                    <a:pt x="456062" y="60040"/>
                  </a:lnTo>
                  <a:lnTo>
                    <a:pt x="417350" y="34854"/>
                  </a:lnTo>
                  <a:lnTo>
                    <a:pt x="374140" y="15971"/>
                  </a:lnTo>
                  <a:lnTo>
                    <a:pt x="327218" y="4113"/>
                  </a:lnTo>
                  <a:lnTo>
                    <a:pt x="277368" y="0"/>
                  </a:lnTo>
                  <a:close/>
                </a:path>
              </a:pathLst>
            </a:custGeom>
            <a:solidFill>
              <a:srgbClr val="FFFFFF"/>
            </a:solidFill>
          </p:spPr>
          <p:txBody>
            <a:bodyPr wrap="square" lIns="0" tIns="0" rIns="0" bIns="0" rtlCol="0"/>
            <a:lstStyle/>
            <a:p>
              <a:endParaRPr sz="2400"/>
            </a:p>
          </p:txBody>
        </p:sp>
        <p:sp>
          <p:nvSpPr>
            <p:cNvPr id="41" name="object 41"/>
            <p:cNvSpPr/>
            <p:nvPr/>
          </p:nvSpPr>
          <p:spPr>
            <a:xfrm>
              <a:off x="2883408" y="2903219"/>
              <a:ext cx="407034" cy="375285"/>
            </a:xfrm>
            <a:custGeom>
              <a:avLst/>
              <a:gdLst/>
              <a:ahLst/>
              <a:cxnLst/>
              <a:rect l="l" t="t" r="r" b="b"/>
              <a:pathLst>
                <a:path w="407035" h="375285">
                  <a:moveTo>
                    <a:pt x="203454" y="0"/>
                  </a:moveTo>
                  <a:lnTo>
                    <a:pt x="156794" y="4951"/>
                  </a:lnTo>
                  <a:lnTo>
                    <a:pt x="113966" y="19056"/>
                  </a:lnTo>
                  <a:lnTo>
                    <a:pt x="76191" y="41187"/>
                  </a:lnTo>
                  <a:lnTo>
                    <a:pt x="44686" y="70219"/>
                  </a:lnTo>
                  <a:lnTo>
                    <a:pt x="20673" y="105024"/>
                  </a:lnTo>
                  <a:lnTo>
                    <a:pt x="5371" y="144477"/>
                  </a:lnTo>
                  <a:lnTo>
                    <a:pt x="0" y="187452"/>
                  </a:lnTo>
                  <a:lnTo>
                    <a:pt x="5371" y="230426"/>
                  </a:lnTo>
                  <a:lnTo>
                    <a:pt x="20673" y="269879"/>
                  </a:lnTo>
                  <a:lnTo>
                    <a:pt x="44686" y="304684"/>
                  </a:lnTo>
                  <a:lnTo>
                    <a:pt x="76191" y="333716"/>
                  </a:lnTo>
                  <a:lnTo>
                    <a:pt x="113966" y="355847"/>
                  </a:lnTo>
                  <a:lnTo>
                    <a:pt x="156794" y="369952"/>
                  </a:lnTo>
                  <a:lnTo>
                    <a:pt x="203454" y="374904"/>
                  </a:lnTo>
                  <a:lnTo>
                    <a:pt x="250113" y="369952"/>
                  </a:lnTo>
                  <a:lnTo>
                    <a:pt x="292941" y="355847"/>
                  </a:lnTo>
                  <a:lnTo>
                    <a:pt x="330716" y="333716"/>
                  </a:lnTo>
                  <a:lnTo>
                    <a:pt x="362221" y="304684"/>
                  </a:lnTo>
                  <a:lnTo>
                    <a:pt x="386234" y="269879"/>
                  </a:lnTo>
                  <a:lnTo>
                    <a:pt x="401536" y="230426"/>
                  </a:lnTo>
                  <a:lnTo>
                    <a:pt x="406907" y="187452"/>
                  </a:lnTo>
                  <a:lnTo>
                    <a:pt x="401536" y="144477"/>
                  </a:lnTo>
                  <a:lnTo>
                    <a:pt x="386234" y="105024"/>
                  </a:lnTo>
                  <a:lnTo>
                    <a:pt x="362221" y="70219"/>
                  </a:lnTo>
                  <a:lnTo>
                    <a:pt x="330716" y="41187"/>
                  </a:lnTo>
                  <a:lnTo>
                    <a:pt x="292941" y="19056"/>
                  </a:lnTo>
                  <a:lnTo>
                    <a:pt x="250113" y="4951"/>
                  </a:lnTo>
                  <a:lnTo>
                    <a:pt x="203454" y="0"/>
                  </a:lnTo>
                  <a:close/>
                </a:path>
              </a:pathLst>
            </a:custGeom>
            <a:solidFill>
              <a:srgbClr val="008DBC"/>
            </a:solidFill>
          </p:spPr>
          <p:txBody>
            <a:bodyPr wrap="square" lIns="0" tIns="0" rIns="0" bIns="0" rtlCol="0"/>
            <a:lstStyle/>
            <a:p>
              <a:endParaRPr sz="2400"/>
            </a:p>
          </p:txBody>
        </p:sp>
        <p:pic>
          <p:nvPicPr>
            <p:cNvPr id="42" name="object 42"/>
            <p:cNvPicPr/>
            <p:nvPr/>
          </p:nvPicPr>
          <p:blipFill>
            <a:blip r:embed="rId14" cstate="print"/>
            <a:stretch>
              <a:fillRect/>
            </a:stretch>
          </p:blipFill>
          <p:spPr>
            <a:xfrm>
              <a:off x="6170676" y="2994659"/>
              <a:ext cx="208787" cy="207263"/>
            </a:xfrm>
            <a:prstGeom prst="rect">
              <a:avLst/>
            </a:prstGeom>
          </p:spPr>
        </p:pic>
        <p:pic>
          <p:nvPicPr>
            <p:cNvPr id="43" name="object 43"/>
            <p:cNvPicPr/>
            <p:nvPr/>
          </p:nvPicPr>
          <p:blipFill>
            <a:blip r:embed="rId15" cstate="print"/>
            <a:stretch>
              <a:fillRect/>
            </a:stretch>
          </p:blipFill>
          <p:spPr>
            <a:xfrm>
              <a:off x="2977896" y="2994659"/>
              <a:ext cx="222504" cy="192023"/>
            </a:xfrm>
            <a:prstGeom prst="rect">
              <a:avLst/>
            </a:prstGeom>
          </p:spPr>
        </p:pic>
      </p:grpSp>
      <p:sp>
        <p:nvSpPr>
          <p:cNvPr id="44" name="object 44"/>
          <p:cNvSpPr txBox="1"/>
          <p:nvPr/>
        </p:nvSpPr>
        <p:spPr>
          <a:xfrm>
            <a:off x="3031742" y="1605280"/>
            <a:ext cx="8489697" cy="582339"/>
          </a:xfrm>
          <a:prstGeom prst="rect">
            <a:avLst/>
          </a:prstGeom>
          <a:solidFill>
            <a:schemeClr val="tx2"/>
          </a:solidFill>
        </p:spPr>
        <p:txBody>
          <a:bodyPr vert="horz" wrap="square" lIns="0" tIns="7620" rIns="0" bIns="0" rtlCol="0">
            <a:spAutoFit/>
          </a:bodyPr>
          <a:lstStyle/>
          <a:p>
            <a:pPr algn="ctr">
              <a:spcBef>
                <a:spcPts val="60"/>
              </a:spcBef>
            </a:pPr>
            <a:r>
              <a:rPr sz="1867" b="1" dirty="0">
                <a:solidFill>
                  <a:srgbClr val="FFFFFF"/>
                </a:solidFill>
                <a:latin typeface="Verdana"/>
                <a:cs typeface="Verdana"/>
              </a:rPr>
              <a:t>Product</a:t>
            </a:r>
            <a:r>
              <a:rPr sz="1867" b="1" spc="-60" dirty="0">
                <a:solidFill>
                  <a:srgbClr val="FFFFFF"/>
                </a:solidFill>
                <a:latin typeface="Verdana"/>
                <a:cs typeface="Verdana"/>
              </a:rPr>
              <a:t> </a:t>
            </a:r>
            <a:r>
              <a:rPr sz="1867" b="1" dirty="0">
                <a:solidFill>
                  <a:srgbClr val="FFFFFF"/>
                </a:solidFill>
                <a:latin typeface="Verdana"/>
                <a:cs typeface="Verdana"/>
              </a:rPr>
              <a:t>identity</a:t>
            </a:r>
            <a:r>
              <a:rPr lang="en-US" sz="1867" b="1" dirty="0">
                <a:solidFill>
                  <a:srgbClr val="FFFFFF"/>
                </a:solidFill>
                <a:latin typeface="Microsoft YaHei"/>
                <a:cs typeface="Verdana"/>
              </a:rPr>
              <a:t>, </a:t>
            </a:r>
            <a:r>
              <a:rPr sz="1867" b="1" dirty="0">
                <a:solidFill>
                  <a:srgbClr val="FFFFFF"/>
                </a:solidFill>
                <a:latin typeface="Verdana"/>
                <a:cs typeface="Verdana"/>
              </a:rPr>
              <a:t>Data</a:t>
            </a:r>
            <a:r>
              <a:rPr sz="1867" b="1" spc="-67" dirty="0">
                <a:solidFill>
                  <a:srgbClr val="FFFFFF"/>
                </a:solidFill>
                <a:latin typeface="Verdana"/>
                <a:cs typeface="Verdana"/>
              </a:rPr>
              <a:t> </a:t>
            </a:r>
            <a:r>
              <a:rPr sz="1867" b="1" dirty="0">
                <a:solidFill>
                  <a:srgbClr val="FFFFFF"/>
                </a:solidFill>
                <a:latin typeface="Verdana"/>
                <a:cs typeface="Verdana"/>
              </a:rPr>
              <a:t>sharing</a:t>
            </a:r>
            <a:r>
              <a:rPr sz="1867" b="1" spc="-47" dirty="0">
                <a:solidFill>
                  <a:srgbClr val="FFFFFF"/>
                </a:solidFill>
                <a:latin typeface="Verdana"/>
                <a:cs typeface="Verdana"/>
              </a:rPr>
              <a:t> </a:t>
            </a:r>
            <a:r>
              <a:rPr sz="1867" b="1" dirty="0">
                <a:solidFill>
                  <a:srgbClr val="FFFFFF"/>
                </a:solidFill>
                <a:latin typeface="Verdana"/>
                <a:cs typeface="Verdana"/>
              </a:rPr>
              <a:t>&amp;</a:t>
            </a:r>
            <a:r>
              <a:rPr sz="1867" b="1" spc="-40" dirty="0">
                <a:solidFill>
                  <a:srgbClr val="FFFFFF"/>
                </a:solidFill>
                <a:latin typeface="Verdana"/>
                <a:cs typeface="Verdana"/>
              </a:rPr>
              <a:t> </a:t>
            </a:r>
            <a:r>
              <a:rPr sz="1867" b="1" spc="-13" dirty="0">
                <a:solidFill>
                  <a:srgbClr val="FFFFFF"/>
                </a:solidFill>
                <a:latin typeface="Verdana"/>
                <a:cs typeface="Verdana"/>
              </a:rPr>
              <a:t>Verification</a:t>
            </a:r>
            <a:endParaRPr sz="1867" dirty="0">
              <a:latin typeface="Verdana"/>
              <a:cs typeface="Verdana"/>
            </a:endParaRPr>
          </a:p>
          <a:p>
            <a:pPr algn="ctr">
              <a:spcBef>
                <a:spcPts val="47"/>
              </a:spcBef>
            </a:pPr>
            <a:r>
              <a:rPr sz="1867" b="1" dirty="0">
                <a:solidFill>
                  <a:srgbClr val="FFFFFF"/>
                </a:solidFill>
                <a:latin typeface="Verdana"/>
                <a:cs typeface="Verdana"/>
              </a:rPr>
              <a:t>—&gt;</a:t>
            </a:r>
            <a:r>
              <a:rPr sz="1867" b="1" spc="-60" dirty="0">
                <a:solidFill>
                  <a:srgbClr val="FFFFFF"/>
                </a:solidFill>
                <a:latin typeface="Verdana"/>
                <a:cs typeface="Verdana"/>
              </a:rPr>
              <a:t> </a:t>
            </a:r>
            <a:r>
              <a:rPr sz="1867" b="1" dirty="0">
                <a:solidFill>
                  <a:srgbClr val="FFFFFF"/>
                </a:solidFill>
                <a:latin typeface="Verdana"/>
                <a:cs typeface="Verdana"/>
              </a:rPr>
              <a:t>Trusted</a:t>
            </a:r>
            <a:r>
              <a:rPr sz="1867" b="1" spc="-53" dirty="0">
                <a:solidFill>
                  <a:srgbClr val="FFFFFF"/>
                </a:solidFill>
                <a:latin typeface="Verdana"/>
                <a:cs typeface="Verdana"/>
              </a:rPr>
              <a:t> </a:t>
            </a:r>
            <a:r>
              <a:rPr sz="1867" b="1" dirty="0">
                <a:solidFill>
                  <a:srgbClr val="FFFFFF"/>
                </a:solidFill>
                <a:latin typeface="Verdana"/>
                <a:cs typeface="Verdana"/>
              </a:rPr>
              <a:t>consumer</a:t>
            </a:r>
            <a:r>
              <a:rPr sz="1867" b="1" spc="-47" dirty="0">
                <a:solidFill>
                  <a:srgbClr val="FFFFFF"/>
                </a:solidFill>
                <a:latin typeface="Verdana"/>
                <a:cs typeface="Verdana"/>
              </a:rPr>
              <a:t> </a:t>
            </a:r>
            <a:r>
              <a:rPr sz="1867" b="1" dirty="0">
                <a:solidFill>
                  <a:srgbClr val="FFFFFF"/>
                </a:solidFill>
                <a:latin typeface="Verdana"/>
                <a:cs typeface="Verdana"/>
              </a:rPr>
              <a:t>goods</a:t>
            </a:r>
            <a:r>
              <a:rPr sz="1867" b="1" spc="-47" dirty="0">
                <a:solidFill>
                  <a:srgbClr val="FFFFFF"/>
                </a:solidFill>
                <a:latin typeface="Verdana"/>
                <a:cs typeface="Verdana"/>
              </a:rPr>
              <a:t> </a:t>
            </a:r>
            <a:r>
              <a:rPr sz="1867" b="1" spc="-13" dirty="0">
                <a:solidFill>
                  <a:srgbClr val="FFFFFF"/>
                </a:solidFill>
                <a:latin typeface="Verdana"/>
                <a:cs typeface="Verdana"/>
              </a:rPr>
              <a:t>trade</a:t>
            </a:r>
            <a:endParaRPr sz="1867" dirty="0">
              <a:latin typeface="Verdana"/>
              <a:cs typeface="Verdana"/>
            </a:endParaRPr>
          </a:p>
        </p:txBody>
      </p:sp>
      <p:sp>
        <p:nvSpPr>
          <p:cNvPr id="46" name="object 46"/>
          <p:cNvSpPr txBox="1">
            <a:spLocks noGrp="1"/>
          </p:cNvSpPr>
          <p:nvPr>
            <p:ph type="sldNum" sz="quarter" idx="7"/>
          </p:nvPr>
        </p:nvSpPr>
        <p:spPr>
          <a:xfrm>
            <a:off x="15017752" y="8524967"/>
            <a:ext cx="440063" cy="140209"/>
          </a:xfrm>
          <a:prstGeom prst="rect">
            <a:avLst/>
          </a:prstGeom>
        </p:spPr>
        <p:txBody>
          <a:bodyPr vert="horz" wrap="square" lIns="0" tIns="16933" rIns="0" bIns="0" numCol="1" rtlCol="0" anchor="ctr" anchorCtr="0" compatLnSpc="1">
            <a:prstTxWarp prst="textNoShape">
              <a:avLst/>
            </a:prstTxWarp>
            <a:spAutoFit/>
          </a:bodyPr>
          <a:lstStyle/>
          <a:p>
            <a:pPr marL="78738">
              <a:spcBef>
                <a:spcPts val="133"/>
              </a:spcBef>
            </a:pPr>
            <a:fld id="{81D60167-4931-47E6-BA6A-407CBD079E47}" type="slidenum">
              <a:rPr spc="-67" dirty="0"/>
              <a:pPr marL="78738">
                <a:spcBef>
                  <a:spcPts val="133"/>
                </a:spcBef>
              </a:pPr>
              <a:t>7</a:t>
            </a:fld>
            <a:endParaRPr spc="-67"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00EB9-E882-B719-BA47-C2188BC46A3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CA40FD-1DFB-1140-EC53-89445514490C}"/>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8</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3" name="Title 2">
            <a:extLst>
              <a:ext uri="{FF2B5EF4-FFF2-40B4-BE49-F238E27FC236}">
                <a16:creationId xmlns:a16="http://schemas.microsoft.com/office/drawing/2014/main" id="{9449479A-44A3-BC53-CC0A-8110954FE553}"/>
              </a:ext>
            </a:extLst>
          </p:cNvPr>
          <p:cNvSpPr>
            <a:spLocks noGrp="1"/>
          </p:cNvSpPr>
          <p:nvPr>
            <p:ph type="title"/>
          </p:nvPr>
        </p:nvSpPr>
        <p:spPr/>
        <p:txBody>
          <a:bodyPr/>
          <a:lstStyle/>
          <a:p>
            <a:r>
              <a:rPr lang="fr-FR" sz="4400" b="1" dirty="0">
                <a:latin typeface="Calibri"/>
                <a:cs typeface="Calibri"/>
              </a:rPr>
              <a:t>Public Policy Focus</a:t>
            </a:r>
          </a:p>
        </p:txBody>
      </p:sp>
      <p:pic>
        <p:nvPicPr>
          <p:cNvPr id="8" name="Picture 7">
            <a:extLst>
              <a:ext uri="{FF2B5EF4-FFF2-40B4-BE49-F238E27FC236}">
                <a16:creationId xmlns:a16="http://schemas.microsoft.com/office/drawing/2014/main" id="{FC7FC9C5-09E1-F725-F152-D34E58045A8C}"/>
              </a:ext>
            </a:extLst>
          </p:cNvPr>
          <p:cNvPicPr>
            <a:picLocks noChangeAspect="1"/>
          </p:cNvPicPr>
          <p:nvPr/>
        </p:nvPicPr>
        <p:blipFill>
          <a:blip r:embed="rId3"/>
          <a:stretch>
            <a:fillRect/>
          </a:stretch>
        </p:blipFill>
        <p:spPr>
          <a:xfrm>
            <a:off x="8927584" y="3570522"/>
            <a:ext cx="2660977" cy="2286000"/>
          </a:xfrm>
          <a:prstGeom prst="rect">
            <a:avLst/>
          </a:prstGeom>
        </p:spPr>
      </p:pic>
      <p:pic>
        <p:nvPicPr>
          <p:cNvPr id="9" name="Picture 8">
            <a:extLst>
              <a:ext uri="{FF2B5EF4-FFF2-40B4-BE49-F238E27FC236}">
                <a16:creationId xmlns:a16="http://schemas.microsoft.com/office/drawing/2014/main" id="{8DC58197-DFBA-64C8-970E-58683094FDCE}"/>
              </a:ext>
            </a:extLst>
          </p:cNvPr>
          <p:cNvPicPr>
            <a:picLocks noChangeAspect="1"/>
          </p:cNvPicPr>
          <p:nvPr/>
        </p:nvPicPr>
        <p:blipFill>
          <a:blip r:embed="rId4"/>
          <a:stretch>
            <a:fillRect/>
          </a:stretch>
        </p:blipFill>
        <p:spPr>
          <a:xfrm>
            <a:off x="480681" y="1284522"/>
            <a:ext cx="3223345" cy="2415411"/>
          </a:xfrm>
          <a:prstGeom prst="rect">
            <a:avLst/>
          </a:prstGeom>
        </p:spPr>
      </p:pic>
      <p:pic>
        <p:nvPicPr>
          <p:cNvPr id="11" name="Picture 10">
            <a:extLst>
              <a:ext uri="{FF2B5EF4-FFF2-40B4-BE49-F238E27FC236}">
                <a16:creationId xmlns:a16="http://schemas.microsoft.com/office/drawing/2014/main" id="{F314FAA3-B3DA-346A-2F82-57F9C8CDFA6E}"/>
              </a:ext>
            </a:extLst>
          </p:cNvPr>
          <p:cNvPicPr>
            <a:picLocks noChangeAspect="1"/>
          </p:cNvPicPr>
          <p:nvPr/>
        </p:nvPicPr>
        <p:blipFill>
          <a:blip r:embed="rId5"/>
          <a:stretch>
            <a:fillRect/>
          </a:stretch>
        </p:blipFill>
        <p:spPr>
          <a:xfrm>
            <a:off x="4783667" y="1284522"/>
            <a:ext cx="4097635" cy="2047771"/>
          </a:xfrm>
          <a:prstGeom prst="rect">
            <a:avLst/>
          </a:prstGeom>
        </p:spPr>
      </p:pic>
      <p:grpSp>
        <p:nvGrpSpPr>
          <p:cNvPr id="7" name="Group 6">
            <a:extLst>
              <a:ext uri="{FF2B5EF4-FFF2-40B4-BE49-F238E27FC236}">
                <a16:creationId xmlns:a16="http://schemas.microsoft.com/office/drawing/2014/main" id="{FC551481-38DA-A348-D20E-9134A76DAABA}"/>
              </a:ext>
            </a:extLst>
          </p:cNvPr>
          <p:cNvGrpSpPr/>
          <p:nvPr/>
        </p:nvGrpSpPr>
        <p:grpSpPr>
          <a:xfrm>
            <a:off x="8927585" y="1284522"/>
            <a:ext cx="2660977" cy="2286000"/>
            <a:chOff x="8927585" y="1284522"/>
            <a:chExt cx="2660977" cy="2286000"/>
          </a:xfrm>
        </p:grpSpPr>
        <p:pic>
          <p:nvPicPr>
            <p:cNvPr id="5" name="Picture 4">
              <a:extLst>
                <a:ext uri="{FF2B5EF4-FFF2-40B4-BE49-F238E27FC236}">
                  <a16:creationId xmlns:a16="http://schemas.microsoft.com/office/drawing/2014/main" id="{F55958FC-6042-52B3-439F-E96302E446A3}"/>
                </a:ext>
              </a:extLst>
            </p:cNvPr>
            <p:cNvPicPr>
              <a:picLocks noChangeAspect="1"/>
            </p:cNvPicPr>
            <p:nvPr/>
          </p:nvPicPr>
          <p:blipFill>
            <a:blip r:embed="rId6"/>
            <a:stretch>
              <a:fillRect/>
            </a:stretch>
          </p:blipFill>
          <p:spPr>
            <a:xfrm>
              <a:off x="8927585" y="1284522"/>
              <a:ext cx="2660977" cy="2286000"/>
            </a:xfrm>
            <a:prstGeom prst="rect">
              <a:avLst/>
            </a:prstGeom>
          </p:spPr>
        </p:pic>
        <p:pic>
          <p:nvPicPr>
            <p:cNvPr id="1026" name="Picture 2" descr="G20 South Africa website goes live ...">
              <a:extLst>
                <a:ext uri="{FF2B5EF4-FFF2-40B4-BE49-F238E27FC236}">
                  <a16:creationId xmlns:a16="http://schemas.microsoft.com/office/drawing/2014/main" id="{A72A11BA-C172-D480-AF01-3CE0249E6C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70268" y="1360521"/>
              <a:ext cx="1118293" cy="884682"/>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a:extLst>
              <a:ext uri="{FF2B5EF4-FFF2-40B4-BE49-F238E27FC236}">
                <a16:creationId xmlns:a16="http://schemas.microsoft.com/office/drawing/2014/main" id="{86BFB372-70B6-8D17-C0D7-1385F2058500}"/>
              </a:ext>
            </a:extLst>
          </p:cNvPr>
          <p:cNvPicPr>
            <a:picLocks noChangeAspect="1"/>
          </p:cNvPicPr>
          <p:nvPr/>
        </p:nvPicPr>
        <p:blipFill>
          <a:blip r:embed="rId8"/>
          <a:stretch>
            <a:fillRect/>
          </a:stretch>
        </p:blipFill>
        <p:spPr>
          <a:xfrm>
            <a:off x="1240883" y="3362189"/>
            <a:ext cx="3223345" cy="2601065"/>
          </a:xfrm>
          <a:prstGeom prst="rect">
            <a:avLst/>
          </a:prstGeom>
        </p:spPr>
      </p:pic>
      <p:pic>
        <p:nvPicPr>
          <p:cNvPr id="6" name="Picture 5">
            <a:extLst>
              <a:ext uri="{FF2B5EF4-FFF2-40B4-BE49-F238E27FC236}">
                <a16:creationId xmlns:a16="http://schemas.microsoft.com/office/drawing/2014/main" id="{C1458144-CF20-1494-C8C5-49BB4763843C}"/>
              </a:ext>
            </a:extLst>
          </p:cNvPr>
          <p:cNvPicPr>
            <a:picLocks noChangeAspect="1"/>
          </p:cNvPicPr>
          <p:nvPr/>
        </p:nvPicPr>
        <p:blipFill>
          <a:blip r:embed="rId9"/>
          <a:stretch>
            <a:fillRect/>
          </a:stretch>
        </p:blipFill>
        <p:spPr>
          <a:xfrm>
            <a:off x="4957517" y="3318639"/>
            <a:ext cx="3370464" cy="2601066"/>
          </a:xfrm>
          <a:prstGeom prst="rect">
            <a:avLst/>
          </a:prstGeom>
        </p:spPr>
      </p:pic>
    </p:spTree>
    <p:extLst>
      <p:ext uri="{BB962C8B-B14F-4D97-AF65-F5344CB8AC3E}">
        <p14:creationId xmlns:p14="http://schemas.microsoft.com/office/powerpoint/2010/main" val="3864766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68F2E9B-80FF-A118-0BEB-E3552A7C823A}"/>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9</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3" name="Title 2">
            <a:extLst>
              <a:ext uri="{FF2B5EF4-FFF2-40B4-BE49-F238E27FC236}">
                <a16:creationId xmlns:a16="http://schemas.microsoft.com/office/drawing/2014/main" id="{72322F3F-418B-B3DE-315C-CF85F942A0FB}"/>
              </a:ext>
            </a:extLst>
          </p:cNvPr>
          <p:cNvSpPr>
            <a:spLocks noGrp="1"/>
          </p:cNvSpPr>
          <p:nvPr>
            <p:ph type="title"/>
          </p:nvPr>
        </p:nvSpPr>
        <p:spPr/>
        <p:txBody>
          <a:bodyPr/>
          <a:lstStyle/>
          <a:p>
            <a:r>
              <a:rPr lang="fr-FR" sz="4400" b="1" dirty="0">
                <a:latin typeface="Calibri"/>
                <a:cs typeface="Calibri"/>
              </a:rPr>
              <a:t>Collaboration </a:t>
            </a:r>
            <a:r>
              <a:rPr lang="fr-FR" sz="4400" b="1" dirty="0" err="1">
                <a:latin typeface="Calibri"/>
                <a:cs typeface="Calibri"/>
              </a:rPr>
              <a:t>is</a:t>
            </a:r>
            <a:r>
              <a:rPr lang="fr-FR" sz="4400" b="1" dirty="0">
                <a:latin typeface="Calibri"/>
                <a:cs typeface="Calibri"/>
              </a:rPr>
              <a:t> Key</a:t>
            </a:r>
          </a:p>
        </p:txBody>
      </p:sp>
      <p:pic>
        <p:nvPicPr>
          <p:cNvPr id="5" name="Picture 4" descr="A person and person with shopping bags&#10;&#10;AI-generated content may be incorrect.">
            <a:extLst>
              <a:ext uri="{FF2B5EF4-FFF2-40B4-BE49-F238E27FC236}">
                <a16:creationId xmlns:a16="http://schemas.microsoft.com/office/drawing/2014/main" id="{08913EAF-9306-F967-EB2F-F4D24C20A5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466" y="1304364"/>
            <a:ext cx="3718922" cy="4648653"/>
          </a:xfrm>
          <a:prstGeom prst="rect">
            <a:avLst/>
          </a:prstGeom>
        </p:spPr>
      </p:pic>
      <p:pic>
        <p:nvPicPr>
          <p:cNvPr id="6" name="Picture 5">
            <a:extLst>
              <a:ext uri="{FF2B5EF4-FFF2-40B4-BE49-F238E27FC236}">
                <a16:creationId xmlns:a16="http://schemas.microsoft.com/office/drawing/2014/main" id="{0DE0EDE9-B27B-1CFE-9562-2AAA3D35F89F}"/>
              </a:ext>
            </a:extLst>
          </p:cNvPr>
          <p:cNvPicPr>
            <a:picLocks noChangeAspect="1"/>
          </p:cNvPicPr>
          <p:nvPr/>
        </p:nvPicPr>
        <p:blipFill>
          <a:blip r:embed="rId4"/>
          <a:stretch>
            <a:fillRect/>
          </a:stretch>
        </p:blipFill>
        <p:spPr>
          <a:xfrm>
            <a:off x="4126337" y="1304364"/>
            <a:ext cx="3644625" cy="4119562"/>
          </a:xfrm>
          <a:prstGeom prst="rect">
            <a:avLst/>
          </a:prstGeom>
        </p:spPr>
      </p:pic>
      <p:pic>
        <p:nvPicPr>
          <p:cNvPr id="4" name="Picture 3">
            <a:extLst>
              <a:ext uri="{FF2B5EF4-FFF2-40B4-BE49-F238E27FC236}">
                <a16:creationId xmlns:a16="http://schemas.microsoft.com/office/drawing/2014/main" id="{6E5CF32E-15BD-4E65-EF07-DD5C4BCA892C}"/>
              </a:ext>
            </a:extLst>
          </p:cNvPr>
          <p:cNvPicPr>
            <a:picLocks noChangeAspect="1"/>
          </p:cNvPicPr>
          <p:nvPr/>
        </p:nvPicPr>
        <p:blipFill>
          <a:blip r:embed="rId5"/>
          <a:stretch>
            <a:fillRect/>
          </a:stretch>
        </p:blipFill>
        <p:spPr>
          <a:xfrm>
            <a:off x="7730737" y="2288241"/>
            <a:ext cx="4461263" cy="2281518"/>
          </a:xfrm>
          <a:prstGeom prst="rect">
            <a:avLst/>
          </a:prstGeom>
        </p:spPr>
      </p:pic>
      <p:pic>
        <p:nvPicPr>
          <p:cNvPr id="7" name="Picture 6" descr="A close up of a sign&#10;&#10;Description automatically generated">
            <a:extLst>
              <a:ext uri="{FF2B5EF4-FFF2-40B4-BE49-F238E27FC236}">
                <a16:creationId xmlns:a16="http://schemas.microsoft.com/office/drawing/2014/main" id="{EBFB68CC-CC3B-CB02-A216-8EDAFF18991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13767" y="1200354"/>
            <a:ext cx="870570" cy="870494"/>
          </a:xfrm>
          <a:prstGeom prst="rect">
            <a:avLst/>
          </a:prstGeom>
        </p:spPr>
      </p:pic>
    </p:spTree>
    <p:extLst>
      <p:ext uri="{BB962C8B-B14F-4D97-AF65-F5344CB8AC3E}">
        <p14:creationId xmlns:p14="http://schemas.microsoft.com/office/powerpoint/2010/main" val="32880303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2025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25400">
          <a:noFill/>
        </a:ln>
        <a:effectLst/>
      </a:spPr>
      <a:bodyPr rtlCol="0" anchor="ctr"/>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Corporate_16-9_2024" id="{526C23DF-498C-5A43-A99B-158EA726E894}" vid="{C9C921B6-76FE-DC4D-825F-B9CB29B0774F}"/>
    </a:ext>
  </a:extLst>
</a:theme>
</file>

<file path=ppt/theme/theme2.xml><?xml version="1.0" encoding="utf-8"?>
<a:theme xmlns:a="http://schemas.openxmlformats.org/drawingml/2006/main" name="3_2025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25400">
          <a:noFill/>
        </a:ln>
        <a:effectLst/>
      </a:spPr>
      <a:bodyPr rtlCol="0" anchor="ctr"/>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Corporate_16-9_2024" id="{526C23DF-498C-5A43-A99B-158EA726E894}" vid="{C9C921B6-76FE-DC4D-825F-B9CB29B0774F}"/>
    </a:ext>
  </a:extLst>
</a:theme>
</file>

<file path=ppt/theme/theme3.xml><?xml version="1.0" encoding="utf-8"?>
<a:theme xmlns:a="http://schemas.openxmlformats.org/drawingml/2006/main" name="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Presentation3" id="{B2C9CEF5-9B2A-4F6B-AF1B-6BFAF3EA1345}" vid="{89EAD6C5-B122-41EB-861A-EA4465D92910}"/>
    </a:ext>
  </a:extLst>
</a:theme>
</file>

<file path=ppt/theme/theme4.xml><?xml version="1.0" encoding="utf-8"?>
<a:theme xmlns:a="http://schemas.openxmlformats.org/drawingml/2006/main" name="2025_Divider">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900" b="0" i="0" u="none" strike="noStrike" kern="0" cap="none" spc="0" normalizeH="0" baseline="0" noProof="0" dirty="0" smtClean="0">
            <a:ln>
              <a:noFill/>
            </a:ln>
            <a:effectLst/>
            <a:uLnTx/>
            <a:uFillTx/>
            <a:latin typeface="Verdana"/>
            <a:ea typeface="+mn-ea"/>
            <a:cs typeface="+mn-cs"/>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Corporate_16-9_2024" id="{526C23DF-498C-5A43-A99B-158EA726E894}" vid="{16021565-DBF2-544D-B165-D3FF66A74B9E}"/>
    </a:ext>
  </a:extLst>
</a:theme>
</file>

<file path=ppt/theme/theme5.xml><?xml version="1.0" encoding="utf-8"?>
<a:theme xmlns:a="http://schemas.openxmlformats.org/drawingml/2006/main" name="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6.xml><?xml version="1.0" encoding="utf-8"?>
<a:theme xmlns:a="http://schemas.openxmlformats.org/drawingml/2006/main" name="GS1_16-9_2020">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16-9_2020" id="{172C47DA-08D0-4412-B89D-5294F8B5FF76}" vid="{D788ADA8-3723-4C13-81EB-ED60422AC1B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98</TotalTime>
  <Words>1739</Words>
  <Application>Microsoft Office PowerPoint</Application>
  <PresentationFormat>Widescreen</PresentationFormat>
  <Paragraphs>152</Paragraphs>
  <Slides>10</Slides>
  <Notes>9</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10</vt:i4>
      </vt:variant>
    </vt:vector>
  </HeadingPairs>
  <TitlesOfParts>
    <vt:vector size="23" baseType="lpstr">
      <vt:lpstr>Microsoft YaHei</vt:lpstr>
      <vt:lpstr>Aptos</vt:lpstr>
      <vt:lpstr>Arial</vt:lpstr>
      <vt:lpstr>Calibri</vt:lpstr>
      <vt:lpstr>Lucida Grande</vt:lpstr>
      <vt:lpstr>Verdana</vt:lpstr>
      <vt:lpstr>2_2025_Content</vt:lpstr>
      <vt:lpstr>3_2025_Content</vt:lpstr>
      <vt:lpstr>Title</vt:lpstr>
      <vt:lpstr>2025_Divider</vt:lpstr>
      <vt:lpstr>Content</vt:lpstr>
      <vt:lpstr>GS1_16-9_2020</vt:lpstr>
      <vt:lpstr>think-cell Slide</vt:lpstr>
      <vt:lpstr>Breaking Data Silos for Collaboration From Big Data to Fast Data  </vt:lpstr>
      <vt:lpstr>GS1 Vision 2030 </vt:lpstr>
      <vt:lpstr>Accelerate business value creation  for the industries we serve</vt:lpstr>
      <vt:lpstr>PowerPoint Presentation</vt:lpstr>
      <vt:lpstr>Capabilities: global view</vt:lpstr>
      <vt:lpstr>PowerPoint Presentation</vt:lpstr>
      <vt:lpstr>China Africa Co-operations</vt:lpstr>
      <vt:lpstr>Public Policy Focus</vt:lpstr>
      <vt:lpstr>Collaboration is K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naud de Barbuat</dc:creator>
  <cp:lastModifiedBy>Michele Francis Padayachee</cp:lastModifiedBy>
  <cp:revision>41</cp:revision>
  <dcterms:created xsi:type="dcterms:W3CDTF">2025-08-20T06:06:35Z</dcterms:created>
  <dcterms:modified xsi:type="dcterms:W3CDTF">2025-10-07T14:15:23Z</dcterms:modified>
</cp:coreProperties>
</file>